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 id="2147483648" r:id="rId5"/>
  </p:sldMasterIdLst>
  <p:notesMasterIdLst>
    <p:notesMasterId r:id="rId71"/>
  </p:notesMasterIdLst>
  <p:handoutMasterIdLst>
    <p:handoutMasterId r:id="rId72"/>
  </p:handoutMasterIdLst>
  <p:sldIdLst>
    <p:sldId id="2147482874" r:id="rId6"/>
    <p:sldId id="338" r:id="rId7"/>
    <p:sldId id="2147482860" r:id="rId8"/>
    <p:sldId id="2147482862" r:id="rId9"/>
    <p:sldId id="2147482875" r:id="rId10"/>
    <p:sldId id="2147482863" r:id="rId11"/>
    <p:sldId id="2147482864" r:id="rId12"/>
    <p:sldId id="2147482876" r:id="rId13"/>
    <p:sldId id="2147482865" r:id="rId14"/>
    <p:sldId id="2147482866" r:id="rId15"/>
    <p:sldId id="2147482867" r:id="rId16"/>
    <p:sldId id="2147482869" r:id="rId17"/>
    <p:sldId id="2147482868" r:id="rId18"/>
    <p:sldId id="2147482870" r:id="rId19"/>
    <p:sldId id="2147482871" r:id="rId20"/>
    <p:sldId id="2147482824" r:id="rId21"/>
    <p:sldId id="2147482825" r:id="rId22"/>
    <p:sldId id="2147482826" r:id="rId23"/>
    <p:sldId id="2147482827" r:id="rId24"/>
    <p:sldId id="2147482828" r:id="rId25"/>
    <p:sldId id="2147482829" r:id="rId26"/>
    <p:sldId id="2147482830" r:id="rId27"/>
    <p:sldId id="2147482816" r:id="rId28"/>
    <p:sldId id="2147482817" r:id="rId29"/>
    <p:sldId id="2147482818" r:id="rId30"/>
    <p:sldId id="2147482872" r:id="rId31"/>
    <p:sldId id="2147482873" r:id="rId32"/>
    <p:sldId id="2147482856" r:id="rId33"/>
    <p:sldId id="2147482820" r:id="rId34"/>
    <p:sldId id="2147482821" r:id="rId35"/>
    <p:sldId id="2147482822" r:id="rId36"/>
    <p:sldId id="2147482857" r:id="rId37"/>
    <p:sldId id="2147482834" r:id="rId38"/>
    <p:sldId id="2147482835" r:id="rId39"/>
    <p:sldId id="2147482836" r:id="rId40"/>
    <p:sldId id="2147482837" r:id="rId41"/>
    <p:sldId id="2147482838" r:id="rId42"/>
    <p:sldId id="2147482840" r:id="rId43"/>
    <p:sldId id="2147482841" r:id="rId44"/>
    <p:sldId id="2147482844" r:id="rId45"/>
    <p:sldId id="2147482845" r:id="rId46"/>
    <p:sldId id="2147482848" r:id="rId47"/>
    <p:sldId id="2147482849" r:id="rId48"/>
    <p:sldId id="2147482800" r:id="rId49"/>
    <p:sldId id="2147482807" r:id="rId50"/>
    <p:sldId id="2147482801" r:id="rId51"/>
    <p:sldId id="2147482852" r:id="rId52"/>
    <p:sldId id="2147482853" r:id="rId53"/>
    <p:sldId id="2147482854" r:id="rId54"/>
    <p:sldId id="2147482855" r:id="rId55"/>
    <p:sldId id="266" r:id="rId56"/>
    <p:sldId id="267" r:id="rId57"/>
    <p:sldId id="268" r:id="rId58"/>
    <p:sldId id="269" r:id="rId59"/>
    <p:sldId id="270" r:id="rId60"/>
    <p:sldId id="271" r:id="rId61"/>
    <p:sldId id="272" r:id="rId62"/>
    <p:sldId id="273" r:id="rId63"/>
    <p:sldId id="2147482858" r:id="rId64"/>
    <p:sldId id="275" r:id="rId65"/>
    <p:sldId id="276" r:id="rId66"/>
    <p:sldId id="312" r:id="rId67"/>
    <p:sldId id="313" r:id="rId68"/>
    <p:sldId id="314" r:id="rId69"/>
    <p:sldId id="315" r:id="rId7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s" id="{1DA0F4A7-50AC-4F29-B1A5-09BC66AFAF75}">
          <p14:sldIdLst>
            <p14:sldId id="2147482874"/>
          </p14:sldIdLst>
        </p14:section>
        <p14:section name="Index" id="{CFD66A46-3520-42CF-AE46-0D21B5CB8508}">
          <p14:sldIdLst>
            <p14:sldId id="338"/>
          </p14:sldIdLst>
        </p14:section>
        <p14:section name="Section Cover" id="{1B292D41-D7C6-48C9-820D-51D476B1C0F7}">
          <p14:sldIdLst>
            <p14:sldId id="2147482860"/>
          </p14:sldIdLst>
        </p14:section>
        <p14:section name="Text, Graphs and Images" id="{28BE38AF-E90C-490F-9705-1D84978774FD}">
          <p14:sldIdLst>
            <p14:sldId id="2147482862"/>
            <p14:sldId id="2147482875"/>
            <p14:sldId id="2147482863"/>
            <p14:sldId id="2147482864"/>
            <p14:sldId id="2147482876"/>
            <p14:sldId id="2147482865"/>
            <p14:sldId id="2147482866"/>
            <p14:sldId id="2147482867"/>
            <p14:sldId id="2147482869"/>
            <p14:sldId id="2147482868"/>
            <p14:sldId id="2147482870"/>
            <p14:sldId id="2147482871"/>
            <p14:sldId id="2147482824"/>
            <p14:sldId id="2147482825"/>
            <p14:sldId id="2147482826"/>
            <p14:sldId id="2147482827"/>
            <p14:sldId id="2147482828"/>
            <p14:sldId id="2147482829"/>
            <p14:sldId id="2147482830"/>
            <p14:sldId id="2147482816"/>
            <p14:sldId id="2147482817"/>
            <p14:sldId id="2147482818"/>
            <p14:sldId id="2147482872"/>
            <p14:sldId id="2147482873"/>
            <p14:sldId id="2147482856"/>
            <p14:sldId id="2147482820"/>
            <p14:sldId id="2147482821"/>
          </p14:sldIdLst>
        </p14:section>
        <p14:section name="Comparison" id="{079926EB-501D-475A-9C36-90A174AB7532}">
          <p14:sldIdLst>
            <p14:sldId id="2147482822"/>
            <p14:sldId id="2147482857"/>
          </p14:sldIdLst>
        </p14:section>
        <p14:section name="Pictures" id="{907C0518-4AAE-4D44-8085-9CE0F77A8A9F}">
          <p14:sldIdLst>
            <p14:sldId id="2147482834"/>
            <p14:sldId id="2147482835"/>
            <p14:sldId id="2147482836"/>
          </p14:sldIdLst>
        </p14:section>
        <p14:section name="Figures" id="{D46912C0-95F4-437B-AE32-719725103C4F}">
          <p14:sldIdLst>
            <p14:sldId id="2147482837"/>
            <p14:sldId id="2147482838"/>
          </p14:sldIdLst>
        </p14:section>
        <p14:section name="Big Text" id="{4BECAAFF-FB9C-4BF8-80F0-BE06E905D05E}">
          <p14:sldIdLst>
            <p14:sldId id="2147482840"/>
            <p14:sldId id="2147482841"/>
            <p14:sldId id="2147482844"/>
            <p14:sldId id="2147482845"/>
            <p14:sldId id="2147482848"/>
            <p14:sldId id="2147482849"/>
          </p14:sldIdLst>
        </p14:section>
        <p14:section name="Pattern" id="{AA67A41B-7707-4B9F-BE3E-3092107C2B01}">
          <p14:sldIdLst>
            <p14:sldId id="2147482800"/>
            <p14:sldId id="2147482807"/>
            <p14:sldId id="2147482801"/>
            <p14:sldId id="2147482852"/>
            <p14:sldId id="2147482853"/>
            <p14:sldId id="2147482854"/>
            <p14:sldId id="2147482855"/>
          </p14:sldIdLst>
        </p14:section>
        <p14:section name="Infographics" id="{B9CC5258-D4A5-40E2-B31E-8794AAC4070A}">
          <p14:sldIdLst>
            <p14:sldId id="266"/>
            <p14:sldId id="267"/>
            <p14:sldId id="268"/>
            <p14:sldId id="269"/>
            <p14:sldId id="270"/>
            <p14:sldId id="271"/>
            <p14:sldId id="272"/>
          </p14:sldIdLst>
        </p14:section>
        <p14:section name="Maps" id="{F9F2BFB9-E207-420A-813B-05AD04C1597B}">
          <p14:sldIdLst>
            <p14:sldId id="273"/>
            <p14:sldId id="2147482858"/>
          </p14:sldIdLst>
        </p14:section>
        <p14:section name="Icons" id="{68CF2399-CD6B-406E-B58D-6CFDBAE5615F}">
          <p14:sldIdLst>
            <p14:sldId id="275"/>
            <p14:sldId id="276"/>
          </p14:sldIdLst>
        </p14:section>
        <p14:section name="Back cover" id="{B0EA021D-8C6B-4486-B87F-AFFAE03B3993}">
          <p14:sldIdLst>
            <p14:sldId id="312"/>
            <p14:sldId id="313"/>
            <p14:sldId id="314"/>
            <p14:sldId id="31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E9E5"/>
    <a:srgbClr val="FCF4CF"/>
    <a:srgbClr val="93AEAC"/>
    <a:srgbClr val="004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78" y="11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2229670-90CF-4638-B2E8-58163D88579D}" type="datetimeFigureOut">
              <a:rPr lang="es-ES" smtClean="0"/>
              <a:t>24/11/2025</a:t>
            </a:fld>
            <a:endParaRPr lang="es-ES"/>
          </a:p>
        </p:txBody>
      </p:sp>
      <p:sp>
        <p:nvSpPr>
          <p:cNvPr id="4" name="Marcador de pie de pá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E30665-DB3C-4B3C-8357-261E4F882AE4}" type="slidenum">
              <a:rPr lang="es-ES" smtClean="0"/>
              <a:t>‹Nº›</a:t>
            </a:fld>
            <a:endParaRPr lang="es-ES"/>
          </a:p>
        </p:txBody>
      </p:sp>
    </p:spTree>
    <p:extLst>
      <p:ext uri="{BB962C8B-B14F-4D97-AF65-F5344CB8AC3E}">
        <p14:creationId xmlns:p14="http://schemas.microsoft.com/office/powerpoint/2010/main" val="10731818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BD004B-AF7D-1249-A4E0-FAE0B437C49D}" type="datetimeFigureOut">
              <a:rPr lang="es-ES" smtClean="0"/>
              <a:t>24/11/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FFE98-CF17-7B41-B63C-9D001B617AAE}" type="slidenum">
              <a:rPr lang="es-ES" smtClean="0"/>
              <a:t>‹Nº›</a:t>
            </a:fld>
            <a:endParaRPr lang="es-ES"/>
          </a:p>
        </p:txBody>
      </p:sp>
    </p:spTree>
    <p:extLst>
      <p:ext uri="{BB962C8B-B14F-4D97-AF65-F5344CB8AC3E}">
        <p14:creationId xmlns:p14="http://schemas.microsoft.com/office/powerpoint/2010/main" val="1859643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Blu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A75467-85C2-7B1D-2133-B8ECA2D3CB82}"/>
              </a:ext>
            </a:extLst>
          </p:cNvPr>
          <p:cNvGraphicFramePr>
            <a:graphicFrameLocks noChangeAspect="1"/>
          </p:cNvGraphicFramePr>
          <p:nvPr userDrawn="1">
            <p:custDataLst>
              <p:tags r:id="rId2"/>
            </p:custDataLst>
            <p:extLst>
              <p:ext uri="{D42A27DB-BD31-4B8C-83A1-F6EECF244321}">
                <p14:modId xmlns:p14="http://schemas.microsoft.com/office/powerpoint/2010/main" val="3455094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a de think-cell" r:id="rId4" imgW="360" imgH="360" progId="TCLayout.ActiveDocument.1">
                  <p:embed/>
                </p:oleObj>
              </mc:Choice>
              <mc:Fallback>
                <p:oleObj name="Diapositiva de think-cell" r:id="rId4" imgW="360" imgH="360" progId="TCLayout.ActiveDocument.1">
                  <p:embed/>
                  <p:pic>
                    <p:nvPicPr>
                      <p:cNvPr id="3" name="think-cell data - do not delete" hidden="1">
                        <a:extLst>
                          <a:ext uri="{FF2B5EF4-FFF2-40B4-BE49-F238E27FC236}">
                            <a16:creationId xmlns:a16="http://schemas.microsoft.com/office/drawing/2014/main" id="{E1A75467-85C2-7B1D-2133-B8ECA2D3CB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1" y="2921282"/>
            <a:ext cx="6480000" cy="999565"/>
          </a:xfrm>
          <a:prstGeom prst="rect">
            <a:avLst/>
          </a:prstGeom>
        </p:spPr>
        <p:txBody>
          <a:bodyPr vert="horz" anchor="ctr"/>
          <a:lstStyle>
            <a:lvl1pPr>
              <a:defRPr sz="3600" b="1" i="0">
                <a:solidFill>
                  <a:schemeClr val="bg1"/>
                </a:solidFill>
                <a:latin typeface="Arial Narrow" panose="020B0604020202020204" pitchFamily="34" charset="0"/>
              </a:defRPr>
            </a:lvl1pPr>
          </a:lstStyle>
          <a:p>
            <a:r>
              <a:rPr lang="es-ES"/>
              <a:t>TITLE OF THE PRESENTATION</a:t>
            </a:r>
          </a:p>
        </p:txBody>
      </p:sp>
      <p:sp>
        <p:nvSpPr>
          <p:cNvPr id="9" name="Marcador de texto 3">
            <a:extLst>
              <a:ext uri="{FF2B5EF4-FFF2-40B4-BE49-F238E27FC236}">
                <a16:creationId xmlns:a16="http://schemas.microsoft.com/office/drawing/2014/main" id="{A693E489-2CF1-15CA-1564-812DB4F5958B}"/>
              </a:ext>
            </a:extLst>
          </p:cNvPr>
          <p:cNvSpPr>
            <a:spLocks noGrp="1"/>
          </p:cNvSpPr>
          <p:nvPr>
            <p:ph type="body" sz="half" idx="2" hasCustomPrompt="1"/>
          </p:nvPr>
        </p:nvSpPr>
        <p:spPr>
          <a:xfrm>
            <a:off x="535611" y="3920847"/>
            <a:ext cx="6480000" cy="696756"/>
          </a:xfrm>
          <a:prstGeom prst="rect">
            <a:avLst/>
          </a:prstGeom>
        </p:spPr>
        <p:txBody>
          <a:bodyPr/>
          <a:lstStyle>
            <a:lvl1pPr marL="0" indent="0">
              <a:buNone/>
              <a:defRPr sz="2000" b="0" i="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Subtitle</a:t>
            </a:r>
          </a:p>
        </p:txBody>
      </p:sp>
      <p:pic>
        <p:nvPicPr>
          <p:cNvPr id="10" name="Imagen 9">
            <a:extLst>
              <a:ext uri="{FF2B5EF4-FFF2-40B4-BE49-F238E27FC236}">
                <a16:creationId xmlns:a16="http://schemas.microsoft.com/office/drawing/2014/main" id="{98A6A820-9578-2A70-F108-49ED09A378D6}"/>
              </a:ext>
            </a:extLst>
          </p:cNvPr>
          <p:cNvPicPr/>
          <p:nvPr userDrawn="1"/>
        </p:nvPicPr>
        <p:blipFill>
          <a:blip r:embed="rId6"/>
          <a:stretch>
            <a:fillRect/>
          </a:stretch>
        </p:blipFill>
        <p:spPr>
          <a:xfrm>
            <a:off x="8600170" y="2824420"/>
            <a:ext cx="2738392" cy="1209160"/>
          </a:xfrm>
          <a:prstGeom prst="rect">
            <a:avLst/>
          </a:prstGeom>
        </p:spPr>
      </p:pic>
      <p:sp>
        <p:nvSpPr>
          <p:cNvPr id="7" name="CuadroTexto 6">
            <a:extLst>
              <a:ext uri="{FF2B5EF4-FFF2-40B4-BE49-F238E27FC236}">
                <a16:creationId xmlns:a16="http://schemas.microsoft.com/office/drawing/2014/main" id="{3213E486-EF19-1D31-6971-4DE69A62B9A6}"/>
              </a:ext>
            </a:extLst>
          </p:cNvPr>
          <p:cNvSpPr txBox="1"/>
          <p:nvPr userDrawn="1"/>
        </p:nvSpPr>
        <p:spPr>
          <a:xfrm>
            <a:off x="535611" y="5441678"/>
            <a:ext cx="4636752" cy="1154162"/>
          </a:xfrm>
          <a:prstGeom prst="rect">
            <a:avLst/>
          </a:prstGeom>
          <a:noFill/>
        </p:spPr>
        <p:txBody>
          <a:bodyPr wrap="square" rtlCol="0">
            <a:spAutoFit/>
          </a:bodyPr>
          <a:lstStyle/>
          <a:p>
            <a:pPr eaLnBrk="0" hangingPunct="0">
              <a:spcAft>
                <a:spcPts val="600"/>
              </a:spcAft>
              <a:tabLst>
                <a:tab pos="2400300" algn="l"/>
              </a:tabLst>
            </a:pP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RIETARY AND CONFIDENTIAL </a:t>
            </a:r>
          </a:p>
          <a:p>
            <a:pPr eaLnBrk="0" hangingPunct="0">
              <a:spcAft>
                <a:spcPts val="0"/>
              </a:spcAft>
              <a:tabLst>
                <a:tab pos="2400300" algn="l"/>
              </a:tabLst>
            </a:pP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Industria de Turbo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S.A.U (ITP Aero) and/or its affiliates 2025. All rights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reserved.Thi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Presentation is provided to the recipient for informational purposes. No representations or warranties are made by ITP Aero or its direct and indirect equity holders and their respective affiliates as to the accuracy of the information contained herein and any guidance and/or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jections.The</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information in this document shall not be used for any purpose other than that for which it is supplied, nor disclosed without the express previous written consent of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Industria</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de Turbo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S.A.U. and/or its affiliates.</a:t>
            </a:r>
          </a:p>
        </p:txBody>
      </p:sp>
    </p:spTree>
    <p:extLst>
      <p:ext uri="{BB962C8B-B14F-4D97-AF65-F5344CB8AC3E}">
        <p14:creationId xmlns:p14="http://schemas.microsoft.com/office/powerpoint/2010/main" val="4120539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_Agenda list">
    <p:spTree>
      <p:nvGrpSpPr>
        <p:cNvPr id="1" name=""/>
        <p:cNvGrpSpPr/>
        <p:nvPr/>
      </p:nvGrpSpPr>
      <p:grpSpPr>
        <a:xfrm>
          <a:off x="0" y="0"/>
          <a:ext cx="0" cy="0"/>
          <a:chOff x="0" y="0"/>
          <a:chExt cx="0" cy="0"/>
        </a:xfrm>
      </p:grpSpPr>
      <p:sp>
        <p:nvSpPr>
          <p:cNvPr id="47" name="Marcador de texto 37">
            <a:extLst>
              <a:ext uri="{FF2B5EF4-FFF2-40B4-BE49-F238E27FC236}">
                <a16:creationId xmlns:a16="http://schemas.microsoft.com/office/drawing/2014/main" id="{2364A2C0-B69A-5874-0B35-8AC0BB5902B0}"/>
              </a:ext>
            </a:extLst>
          </p:cNvPr>
          <p:cNvSpPr>
            <a:spLocks noGrp="1"/>
          </p:cNvSpPr>
          <p:nvPr>
            <p:ph type="body" sz="quarter" idx="19" hasCustomPrompt="1"/>
          </p:nvPr>
        </p:nvSpPr>
        <p:spPr>
          <a:xfrm>
            <a:off x="2222847" y="1619881"/>
            <a:ext cx="8651472" cy="501650"/>
          </a:xfrm>
          <a:prstGeom prst="rect">
            <a:avLst/>
          </a:prstGeom>
        </p:spPr>
        <p:txBody>
          <a:bodyPr anchor="ctr"/>
          <a:lstStyle>
            <a:lvl1pPr marL="0" indent="0">
              <a:buNone/>
              <a:defRPr sz="2000" b="1" i="0">
                <a:solidFill>
                  <a:schemeClr val="tx1"/>
                </a:solidFill>
                <a:latin typeface="Arial Narrow" panose="020B0604020202020204" pitchFamily="34" charset="0"/>
              </a:defRPr>
            </a:lvl1pPr>
          </a:lstStyle>
          <a:p>
            <a:pPr lvl="0"/>
            <a:r>
              <a:rPr lang="es-ES"/>
              <a:t>TOPIC</a:t>
            </a:r>
          </a:p>
        </p:txBody>
      </p:sp>
      <p:sp>
        <p:nvSpPr>
          <p:cNvPr id="57" name="Marcador de texto 37">
            <a:extLst>
              <a:ext uri="{FF2B5EF4-FFF2-40B4-BE49-F238E27FC236}">
                <a16:creationId xmlns:a16="http://schemas.microsoft.com/office/drawing/2014/main" id="{D5D20EC7-9366-5BFC-20D4-20FB153636C6}"/>
              </a:ext>
            </a:extLst>
          </p:cNvPr>
          <p:cNvSpPr>
            <a:spLocks noGrp="1"/>
          </p:cNvSpPr>
          <p:nvPr>
            <p:ph type="body" sz="quarter" idx="28" hasCustomPrompt="1"/>
          </p:nvPr>
        </p:nvSpPr>
        <p:spPr>
          <a:xfrm>
            <a:off x="2222847" y="2473778"/>
            <a:ext cx="8651472" cy="501650"/>
          </a:xfrm>
          <a:prstGeom prst="rect">
            <a:avLst/>
          </a:prstGeom>
        </p:spPr>
        <p:txBody>
          <a:bodyPr anchor="ctr"/>
          <a:lstStyle>
            <a:lvl1pPr marL="0" indent="0">
              <a:buNone/>
              <a:defRPr sz="2000" b="1" i="0">
                <a:solidFill>
                  <a:schemeClr val="tx1"/>
                </a:solidFill>
                <a:latin typeface="Arial Narrow" panose="020B0604020202020204" pitchFamily="34" charset="0"/>
              </a:defRPr>
            </a:lvl1pPr>
          </a:lstStyle>
          <a:p>
            <a:pPr lvl="0"/>
            <a:r>
              <a:rPr lang="es-ES"/>
              <a:t>TOPIC</a:t>
            </a:r>
          </a:p>
        </p:txBody>
      </p:sp>
      <p:sp>
        <p:nvSpPr>
          <p:cNvPr id="23" name="Marcador de texto 37">
            <a:extLst>
              <a:ext uri="{FF2B5EF4-FFF2-40B4-BE49-F238E27FC236}">
                <a16:creationId xmlns:a16="http://schemas.microsoft.com/office/drawing/2014/main" id="{D5D20EC7-9366-5BFC-20D4-20FB153636C6}"/>
              </a:ext>
            </a:extLst>
          </p:cNvPr>
          <p:cNvSpPr>
            <a:spLocks noGrp="1"/>
          </p:cNvSpPr>
          <p:nvPr>
            <p:ph type="body" sz="quarter" idx="29" hasCustomPrompt="1"/>
          </p:nvPr>
        </p:nvSpPr>
        <p:spPr>
          <a:xfrm>
            <a:off x="2222847" y="3353697"/>
            <a:ext cx="8651472" cy="501650"/>
          </a:xfrm>
          <a:prstGeom prst="rect">
            <a:avLst/>
          </a:prstGeom>
        </p:spPr>
        <p:txBody>
          <a:bodyPr anchor="ctr"/>
          <a:lstStyle>
            <a:lvl1pPr marL="0" indent="0">
              <a:buNone/>
              <a:defRPr sz="2000" b="1" i="0">
                <a:solidFill>
                  <a:schemeClr val="tx1"/>
                </a:solidFill>
                <a:latin typeface="Arial Narrow" panose="020B0604020202020204" pitchFamily="34" charset="0"/>
              </a:defRPr>
            </a:lvl1pPr>
          </a:lstStyle>
          <a:p>
            <a:pPr lvl="0"/>
            <a:r>
              <a:rPr lang="es-ES"/>
              <a:t>TOPIC</a:t>
            </a:r>
          </a:p>
        </p:txBody>
      </p:sp>
      <p:sp>
        <p:nvSpPr>
          <p:cNvPr id="24" name="Marcador de texto 37">
            <a:extLst>
              <a:ext uri="{FF2B5EF4-FFF2-40B4-BE49-F238E27FC236}">
                <a16:creationId xmlns:a16="http://schemas.microsoft.com/office/drawing/2014/main" id="{D5D20EC7-9366-5BFC-20D4-20FB153636C6}"/>
              </a:ext>
            </a:extLst>
          </p:cNvPr>
          <p:cNvSpPr>
            <a:spLocks noGrp="1"/>
          </p:cNvSpPr>
          <p:nvPr>
            <p:ph type="body" sz="quarter" idx="30" hasCustomPrompt="1"/>
          </p:nvPr>
        </p:nvSpPr>
        <p:spPr>
          <a:xfrm>
            <a:off x="2222847" y="4218472"/>
            <a:ext cx="8651472" cy="501650"/>
          </a:xfrm>
          <a:prstGeom prst="rect">
            <a:avLst/>
          </a:prstGeom>
        </p:spPr>
        <p:txBody>
          <a:bodyPr anchor="ctr"/>
          <a:lstStyle>
            <a:lvl1pPr marL="0" indent="0">
              <a:buNone/>
              <a:defRPr sz="2000" b="1" i="0">
                <a:solidFill>
                  <a:schemeClr val="tx1"/>
                </a:solidFill>
                <a:latin typeface="Arial Narrow" panose="020B0604020202020204" pitchFamily="34" charset="0"/>
              </a:defRPr>
            </a:lvl1pPr>
          </a:lstStyle>
          <a:p>
            <a:pPr lvl="0"/>
            <a:r>
              <a:rPr lang="es-ES"/>
              <a:t>TOPIC</a:t>
            </a:r>
          </a:p>
        </p:txBody>
      </p:sp>
      <p:sp>
        <p:nvSpPr>
          <p:cNvPr id="26" name="Marcador de texto 37">
            <a:extLst>
              <a:ext uri="{FF2B5EF4-FFF2-40B4-BE49-F238E27FC236}">
                <a16:creationId xmlns:a16="http://schemas.microsoft.com/office/drawing/2014/main" id="{D5D20EC7-9366-5BFC-20D4-20FB153636C6}"/>
              </a:ext>
            </a:extLst>
          </p:cNvPr>
          <p:cNvSpPr>
            <a:spLocks noGrp="1"/>
          </p:cNvSpPr>
          <p:nvPr>
            <p:ph type="body" sz="quarter" idx="32" hasCustomPrompt="1"/>
          </p:nvPr>
        </p:nvSpPr>
        <p:spPr>
          <a:xfrm>
            <a:off x="2222847" y="5072369"/>
            <a:ext cx="8651472" cy="501650"/>
          </a:xfrm>
          <a:prstGeom prst="rect">
            <a:avLst/>
          </a:prstGeom>
        </p:spPr>
        <p:txBody>
          <a:bodyPr anchor="ctr"/>
          <a:lstStyle>
            <a:lvl1pPr marL="0" indent="0">
              <a:buNone/>
              <a:defRPr sz="2000" b="1" i="0">
                <a:solidFill>
                  <a:schemeClr val="tx1"/>
                </a:solidFill>
                <a:latin typeface="Arial Narrow" panose="020B0604020202020204" pitchFamily="34" charset="0"/>
              </a:defRPr>
            </a:lvl1pPr>
          </a:lstStyle>
          <a:p>
            <a:pPr lvl="0"/>
            <a:r>
              <a:rPr lang="es-ES"/>
              <a:t>TOPIC</a:t>
            </a:r>
          </a:p>
        </p:txBody>
      </p:sp>
      <p:sp>
        <p:nvSpPr>
          <p:cNvPr id="15"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a:xfrm>
            <a:off x="8605477" y="6356350"/>
            <a:ext cx="2205958" cy="365125"/>
          </a:xfrm>
        </p:spPr>
        <p:txBody>
          <a:bodyPr/>
          <a:lstStyle/>
          <a:p>
            <a:r>
              <a:rPr lang="es-ES" err="1"/>
              <a:t>Proprietary</a:t>
            </a:r>
            <a:r>
              <a:rPr lang="es-ES"/>
              <a:t> </a:t>
            </a:r>
            <a:r>
              <a:rPr lang="es-ES" err="1"/>
              <a:t>Information</a:t>
            </a:r>
            <a:r>
              <a:rPr lang="es-ES"/>
              <a:t> - </a:t>
            </a:r>
            <a:r>
              <a:rPr lang="es-ES" err="1"/>
              <a:t>Confidential</a:t>
            </a:r>
            <a:endParaRPr lang="es-ES"/>
          </a:p>
        </p:txBody>
      </p:sp>
      <p:sp>
        <p:nvSpPr>
          <p:cNvPr id="1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a:xfrm>
            <a:off x="10834487" y="6356350"/>
            <a:ext cx="980356" cy="365125"/>
          </a:xfrm>
        </p:spPr>
        <p:txBody>
          <a:bodyPr/>
          <a:lstStyle/>
          <a:p>
            <a:fld id="{FF2CED2D-DE01-CB40-AEF5-C9DD7CD06225}" type="slidenum">
              <a:rPr lang="es-ES" smtClean="0"/>
              <a:t>‹Nº›</a:t>
            </a:fld>
            <a:endParaRPr lang="es-ES"/>
          </a:p>
        </p:txBody>
      </p:sp>
      <p:sp>
        <p:nvSpPr>
          <p:cNvPr id="19" name="Marcador de texto 37">
            <a:extLst>
              <a:ext uri="{FF2B5EF4-FFF2-40B4-BE49-F238E27FC236}">
                <a16:creationId xmlns:a16="http://schemas.microsoft.com/office/drawing/2014/main" id="{BD8DED17-2F90-D6D2-137F-667B527491DC}"/>
              </a:ext>
            </a:extLst>
          </p:cNvPr>
          <p:cNvSpPr txBox="1">
            <a:spLocks/>
          </p:cNvSpPr>
          <p:nvPr userDrawn="1"/>
        </p:nvSpPr>
        <p:spPr>
          <a:xfrm>
            <a:off x="1317682" y="1619881"/>
            <a:ext cx="776249" cy="50165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1</a:t>
            </a:r>
          </a:p>
        </p:txBody>
      </p:sp>
      <p:sp>
        <p:nvSpPr>
          <p:cNvPr id="20" name="Marcador de texto 37">
            <a:extLst>
              <a:ext uri="{FF2B5EF4-FFF2-40B4-BE49-F238E27FC236}">
                <a16:creationId xmlns:a16="http://schemas.microsoft.com/office/drawing/2014/main" id="{BD8DED17-2F90-D6D2-137F-667B527491DC}"/>
              </a:ext>
            </a:extLst>
          </p:cNvPr>
          <p:cNvSpPr txBox="1">
            <a:spLocks/>
          </p:cNvSpPr>
          <p:nvPr userDrawn="1"/>
        </p:nvSpPr>
        <p:spPr>
          <a:xfrm>
            <a:off x="1317682" y="2473778"/>
            <a:ext cx="776249" cy="50165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2</a:t>
            </a:r>
          </a:p>
        </p:txBody>
      </p:sp>
      <p:sp>
        <p:nvSpPr>
          <p:cNvPr id="21" name="Marcador de texto 37">
            <a:extLst>
              <a:ext uri="{FF2B5EF4-FFF2-40B4-BE49-F238E27FC236}">
                <a16:creationId xmlns:a16="http://schemas.microsoft.com/office/drawing/2014/main" id="{BD8DED17-2F90-D6D2-137F-667B527491DC}"/>
              </a:ext>
            </a:extLst>
          </p:cNvPr>
          <p:cNvSpPr txBox="1">
            <a:spLocks/>
          </p:cNvSpPr>
          <p:nvPr userDrawn="1"/>
        </p:nvSpPr>
        <p:spPr>
          <a:xfrm>
            <a:off x="1317682" y="3353697"/>
            <a:ext cx="776249" cy="50165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3</a:t>
            </a:r>
          </a:p>
        </p:txBody>
      </p:sp>
      <p:sp>
        <p:nvSpPr>
          <p:cNvPr id="22" name="Marcador de texto 37">
            <a:extLst>
              <a:ext uri="{FF2B5EF4-FFF2-40B4-BE49-F238E27FC236}">
                <a16:creationId xmlns:a16="http://schemas.microsoft.com/office/drawing/2014/main" id="{BD8DED17-2F90-D6D2-137F-667B527491DC}"/>
              </a:ext>
            </a:extLst>
          </p:cNvPr>
          <p:cNvSpPr txBox="1">
            <a:spLocks/>
          </p:cNvSpPr>
          <p:nvPr userDrawn="1"/>
        </p:nvSpPr>
        <p:spPr>
          <a:xfrm>
            <a:off x="1317681" y="4218472"/>
            <a:ext cx="776249" cy="50165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4</a:t>
            </a:r>
          </a:p>
        </p:txBody>
      </p:sp>
      <p:sp>
        <p:nvSpPr>
          <p:cNvPr id="27" name="Marcador de texto 37">
            <a:extLst>
              <a:ext uri="{FF2B5EF4-FFF2-40B4-BE49-F238E27FC236}">
                <a16:creationId xmlns:a16="http://schemas.microsoft.com/office/drawing/2014/main" id="{BD8DED17-2F90-D6D2-137F-667B527491DC}"/>
              </a:ext>
            </a:extLst>
          </p:cNvPr>
          <p:cNvSpPr txBox="1">
            <a:spLocks/>
          </p:cNvSpPr>
          <p:nvPr userDrawn="1"/>
        </p:nvSpPr>
        <p:spPr>
          <a:xfrm>
            <a:off x="1317680" y="5072369"/>
            <a:ext cx="776249" cy="50165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5</a:t>
            </a:r>
          </a:p>
        </p:txBody>
      </p:sp>
      <p:sp>
        <p:nvSpPr>
          <p:cNvPr id="28" name="CuadroTexto 27">
            <a:extLst>
              <a:ext uri="{FF2B5EF4-FFF2-40B4-BE49-F238E27FC236}">
                <a16:creationId xmlns:a16="http://schemas.microsoft.com/office/drawing/2014/main" id="{97E164A5-8E6E-1001-315B-F1C863DEC9BB}"/>
              </a:ext>
            </a:extLst>
          </p:cNvPr>
          <p:cNvSpPr txBox="1"/>
          <p:nvPr userDrawn="1"/>
        </p:nvSpPr>
        <p:spPr>
          <a:xfrm>
            <a:off x="543015" y="529163"/>
            <a:ext cx="2469692" cy="646331"/>
          </a:xfrm>
          <a:prstGeom prst="rect">
            <a:avLst/>
          </a:prstGeom>
          <a:noFill/>
        </p:spPr>
        <p:txBody>
          <a:bodyPr wrap="square">
            <a:spAutoFit/>
          </a:bodyPr>
          <a:lstStyle/>
          <a:p>
            <a:r>
              <a:rPr lang="es-ES" sz="3600" b="1" i="0">
                <a:solidFill>
                  <a:srgbClr val="0042ED"/>
                </a:solidFill>
                <a:latin typeface="Arial Narrow" panose="020B0604020202020204" pitchFamily="34" charset="0"/>
              </a:rPr>
              <a:t>AGENDA</a:t>
            </a:r>
          </a:p>
        </p:txBody>
      </p:sp>
    </p:spTree>
    <p:extLst>
      <p:ext uri="{BB962C8B-B14F-4D97-AF65-F5344CB8AC3E}">
        <p14:creationId xmlns:p14="http://schemas.microsoft.com/office/powerpoint/2010/main" val="1887245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1_Section Cover">
    <p:spTree>
      <p:nvGrpSpPr>
        <p:cNvPr id="1" name=""/>
        <p:cNvGrpSpPr/>
        <p:nvPr/>
      </p:nvGrpSpPr>
      <p:grpSpPr>
        <a:xfrm>
          <a:off x="0" y="0"/>
          <a:ext cx="0" cy="0"/>
          <a:chOff x="0" y="0"/>
          <a:chExt cx="0" cy="0"/>
        </a:xfrm>
      </p:grpSpPr>
      <p:sp>
        <p:nvSpPr>
          <p:cNvPr id="2" name="Rectángulo 1"/>
          <p:cNvSpPr/>
          <p:nvPr userDrawn="1"/>
        </p:nvSpPr>
        <p:spPr>
          <a:xfrm>
            <a:off x="6105293" y="0"/>
            <a:ext cx="608670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a:xfrm>
            <a:off x="8605477" y="6356350"/>
            <a:ext cx="2205958" cy="365125"/>
          </a:xfrm>
        </p:spPr>
        <p:txBody>
          <a:bodyPr/>
          <a:lstStyle>
            <a:lvl1pPr>
              <a:defRPr>
                <a:solidFill>
                  <a:schemeClr val="bg1"/>
                </a:solidFill>
              </a:defRPr>
            </a:lvl1pPr>
          </a:lstStyle>
          <a:p>
            <a:r>
              <a:rPr lang="es-ES" err="1"/>
              <a:t>Proprietary</a:t>
            </a:r>
            <a:r>
              <a:rPr lang="es-ES"/>
              <a:t> </a:t>
            </a:r>
            <a:r>
              <a:rPr lang="es-ES" err="1"/>
              <a:t>Information</a:t>
            </a:r>
            <a:r>
              <a:rPr lang="es-ES"/>
              <a:t> - </a:t>
            </a:r>
            <a:r>
              <a:rPr lang="es-ES" err="1"/>
              <a:t>Confidential</a:t>
            </a:r>
            <a:endParaRPr lang="es-ES"/>
          </a:p>
        </p:txBody>
      </p:sp>
      <p:sp>
        <p:nvSpPr>
          <p:cNvPr id="8"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a:xfrm>
            <a:off x="10834487" y="6356350"/>
            <a:ext cx="980356" cy="365125"/>
          </a:xfrm>
        </p:spPr>
        <p:txBody>
          <a:bodyPr/>
          <a:lstStyle>
            <a:lvl1pPr>
              <a:defRPr>
                <a:solidFill>
                  <a:schemeClr val="bg1"/>
                </a:solidFill>
              </a:defRPr>
            </a:lvl1pPr>
          </a:lstStyle>
          <a:p>
            <a:fld id="{FF2CED2D-DE01-CB40-AEF5-C9DD7CD06225}" type="slidenum">
              <a:rPr lang="es-ES" smtClean="0"/>
              <a:pPr/>
              <a:t>‹Nº›</a:t>
            </a:fld>
            <a:endParaRPr lang="es-ES"/>
          </a:p>
        </p:txBody>
      </p:sp>
      <p:sp>
        <p:nvSpPr>
          <p:cNvPr id="10" name="Marcador de texto 37">
            <a:extLst>
              <a:ext uri="{FF2B5EF4-FFF2-40B4-BE49-F238E27FC236}">
                <a16:creationId xmlns:a16="http://schemas.microsoft.com/office/drawing/2014/main" id="{F470E907-620D-614B-6067-86F4A22B178F}"/>
              </a:ext>
            </a:extLst>
          </p:cNvPr>
          <p:cNvSpPr>
            <a:spLocks noGrp="1"/>
          </p:cNvSpPr>
          <p:nvPr>
            <p:ph type="body" sz="quarter" idx="19" hasCustomPrompt="1"/>
          </p:nvPr>
        </p:nvSpPr>
        <p:spPr>
          <a:xfrm>
            <a:off x="609507" y="3355192"/>
            <a:ext cx="3827227" cy="1417002"/>
          </a:xfrm>
          <a:prstGeom prst="rect">
            <a:avLst/>
          </a:prstGeom>
        </p:spPr>
        <p:txBody>
          <a:bodyPr anchor="t"/>
          <a:lstStyle>
            <a:lvl1pPr marL="0" indent="0">
              <a:buNone/>
              <a:defRPr sz="3600" b="1" i="0">
                <a:solidFill>
                  <a:schemeClr val="tx1"/>
                </a:solidFill>
                <a:latin typeface="Arial Narrow" panose="020B0604020202020204" pitchFamily="34" charset="0"/>
              </a:defRPr>
            </a:lvl1pPr>
          </a:lstStyle>
          <a:p>
            <a:pPr lvl="0"/>
            <a:r>
              <a:rPr lang="es-ES"/>
              <a:t>TOPIC</a:t>
            </a:r>
          </a:p>
        </p:txBody>
      </p:sp>
      <p:sp>
        <p:nvSpPr>
          <p:cNvPr id="12" name="Marcador de texto 16">
            <a:extLst>
              <a:ext uri="{FF2B5EF4-FFF2-40B4-BE49-F238E27FC236}">
                <a16:creationId xmlns:a16="http://schemas.microsoft.com/office/drawing/2014/main" id="{419EBCED-DD09-F1A2-2386-E3C417AB4652}"/>
              </a:ext>
            </a:extLst>
          </p:cNvPr>
          <p:cNvSpPr>
            <a:spLocks noGrp="1"/>
          </p:cNvSpPr>
          <p:nvPr>
            <p:ph type="body" sz="quarter" idx="17"/>
          </p:nvPr>
        </p:nvSpPr>
        <p:spPr>
          <a:xfrm>
            <a:off x="7060677" y="923827"/>
            <a:ext cx="4524638" cy="4967926"/>
          </a:xfrm>
          <a:prstGeom prst="rect">
            <a:avLst/>
          </a:prstGeom>
        </p:spPr>
        <p:txBody>
          <a:bodyPr/>
          <a:lstStyle>
            <a:lvl1pPr>
              <a:defRPr sz="14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11" name="Marcador de texto 37">
            <a:extLst>
              <a:ext uri="{FF2B5EF4-FFF2-40B4-BE49-F238E27FC236}">
                <a16:creationId xmlns:a16="http://schemas.microsoft.com/office/drawing/2014/main" id="{6FE238B3-0BD9-988E-4611-BD18375F063D}"/>
              </a:ext>
            </a:extLst>
          </p:cNvPr>
          <p:cNvSpPr txBox="1">
            <a:spLocks/>
          </p:cNvSpPr>
          <p:nvPr userDrawn="1"/>
        </p:nvSpPr>
        <p:spPr>
          <a:xfrm>
            <a:off x="593249" y="2539028"/>
            <a:ext cx="1415902" cy="67921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1</a:t>
            </a:r>
          </a:p>
        </p:txBody>
      </p:sp>
    </p:spTree>
    <p:extLst>
      <p:ext uri="{BB962C8B-B14F-4D97-AF65-F5344CB8AC3E}">
        <p14:creationId xmlns:p14="http://schemas.microsoft.com/office/powerpoint/2010/main" val="336576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2_Section cover">
    <p:bg>
      <p:bgPr>
        <a:solidFill>
          <a:srgbClr val="0042ED"/>
        </a:solidFill>
        <a:effectLst/>
      </p:bgPr>
    </p:bg>
    <p:spTree>
      <p:nvGrpSpPr>
        <p:cNvPr id="1" name=""/>
        <p:cNvGrpSpPr/>
        <p:nvPr/>
      </p:nvGrpSpPr>
      <p:grpSpPr>
        <a:xfrm>
          <a:off x="0" y="0"/>
          <a:ext cx="0" cy="0"/>
          <a:chOff x="0" y="0"/>
          <a:chExt cx="0" cy="0"/>
        </a:xfrm>
      </p:grpSpPr>
      <p:sp>
        <p:nvSpPr>
          <p:cNvPr id="13" name="Rectángulo 12"/>
          <p:cNvSpPr/>
          <p:nvPr userDrawn="1"/>
        </p:nvSpPr>
        <p:spPr>
          <a:xfrm>
            <a:off x="6105293" y="0"/>
            <a:ext cx="6086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Marcador de número de diapositiva 5">
            <a:extLst>
              <a:ext uri="{FF2B5EF4-FFF2-40B4-BE49-F238E27FC236}">
                <a16:creationId xmlns:a16="http://schemas.microsoft.com/office/drawing/2014/main" id="{569B5B9B-376F-C705-5B0F-9F2F46AF0001}"/>
              </a:ext>
            </a:extLst>
          </p:cNvPr>
          <p:cNvSpPr>
            <a:spLocks noGrp="1"/>
          </p:cNvSpPr>
          <p:nvPr>
            <p:ph type="sldNum" sz="quarter" idx="4"/>
          </p:nvPr>
        </p:nvSpPr>
        <p:spPr>
          <a:xfrm>
            <a:off x="10834487" y="6356350"/>
            <a:ext cx="980356" cy="365125"/>
          </a:xfrm>
          <a:prstGeom prst="rect">
            <a:avLst/>
          </a:prstGeom>
        </p:spPr>
        <p:txBody>
          <a:bodyPr vert="horz" lIns="91440" tIns="45720" rIns="91440" bIns="45720" rtlCol="0" anchor="ctr"/>
          <a:lstStyle>
            <a:lvl1pPr algn="r">
              <a:defRPr sz="900" b="0" i="0">
                <a:solidFill>
                  <a:schemeClr val="tx1"/>
                </a:solidFill>
                <a:latin typeface="Arial" panose="020B0604020202020204" pitchFamily="34" charset="0"/>
                <a:cs typeface="Arial" panose="020B0604020202020204" pitchFamily="34" charset="0"/>
              </a:defRPr>
            </a:lvl1pPr>
          </a:lstStyle>
          <a:p>
            <a:fld id="{FF2CED2D-DE01-CB40-AEF5-C9DD7CD06225}" type="slidenum">
              <a:rPr lang="es-ES" smtClean="0"/>
              <a:pPr/>
              <a:t>‹Nº›</a:t>
            </a:fld>
            <a:endParaRPr lang="es-ES"/>
          </a:p>
        </p:txBody>
      </p:sp>
      <p:pic>
        <p:nvPicPr>
          <p:cNvPr id="3" name="Imagen 1">
            <a:extLst>
              <a:ext uri="{FF2B5EF4-FFF2-40B4-BE49-F238E27FC236}">
                <a16:creationId xmlns:a16="http://schemas.microsoft.com/office/drawing/2014/main" id="{9492381F-C020-8443-2524-CA2A35218A28}"/>
              </a:ext>
            </a:extLst>
          </p:cNvPr>
          <p:cNvPicPr/>
          <p:nvPr userDrawn="1"/>
        </p:nvPicPr>
        <p:blipFill>
          <a:blip r:embed="rId2"/>
          <a:stretch>
            <a:fillRect/>
          </a:stretch>
        </p:blipFill>
        <p:spPr>
          <a:xfrm>
            <a:off x="653742" y="6320455"/>
            <a:ext cx="663716" cy="293070"/>
          </a:xfrm>
          <a:prstGeom prst="rect">
            <a:avLst/>
          </a:prstGeom>
        </p:spPr>
      </p:pic>
      <p:sp>
        <p:nvSpPr>
          <p:cNvPr id="8" name="Marcador de texto 37">
            <a:extLst>
              <a:ext uri="{FF2B5EF4-FFF2-40B4-BE49-F238E27FC236}">
                <a16:creationId xmlns:a16="http://schemas.microsoft.com/office/drawing/2014/main" id="{66D52F48-9492-9122-80DA-4C8D0CC457E3}"/>
              </a:ext>
            </a:extLst>
          </p:cNvPr>
          <p:cNvSpPr>
            <a:spLocks noGrp="1"/>
          </p:cNvSpPr>
          <p:nvPr>
            <p:ph type="body" sz="quarter" idx="13" hasCustomPrompt="1"/>
          </p:nvPr>
        </p:nvSpPr>
        <p:spPr>
          <a:xfrm>
            <a:off x="593249" y="2539028"/>
            <a:ext cx="1415902" cy="679210"/>
          </a:xfrm>
          <a:prstGeom prst="rect">
            <a:avLst/>
          </a:prstGeom>
        </p:spPr>
        <p:txBody>
          <a:bodyPr anchor="ctr"/>
          <a:lstStyle>
            <a:lvl1pPr marL="0" indent="0">
              <a:buNone/>
              <a:defRPr sz="5400" b="1" i="0">
                <a:solidFill>
                  <a:schemeClr val="bg1"/>
                </a:solidFill>
                <a:latin typeface="Arial Narrow" panose="020B0604020202020204" pitchFamily="34" charset="0"/>
              </a:defRPr>
            </a:lvl1pPr>
          </a:lstStyle>
          <a:p>
            <a:pPr lvl="0"/>
            <a:r>
              <a:rPr lang="es-ES"/>
              <a:t>01</a:t>
            </a:r>
          </a:p>
        </p:txBody>
      </p:sp>
      <p:sp>
        <p:nvSpPr>
          <p:cNvPr id="12" name="Marcador de texto 16">
            <a:extLst>
              <a:ext uri="{FF2B5EF4-FFF2-40B4-BE49-F238E27FC236}">
                <a16:creationId xmlns:a16="http://schemas.microsoft.com/office/drawing/2014/main" id="{419EBCED-DD09-F1A2-2386-E3C417AB4652}"/>
              </a:ext>
            </a:extLst>
          </p:cNvPr>
          <p:cNvSpPr>
            <a:spLocks noGrp="1"/>
          </p:cNvSpPr>
          <p:nvPr>
            <p:ph type="body" sz="quarter" idx="17"/>
          </p:nvPr>
        </p:nvSpPr>
        <p:spPr>
          <a:xfrm>
            <a:off x="7060677" y="923827"/>
            <a:ext cx="4524638" cy="4967926"/>
          </a:xfrm>
          <a:prstGeom prst="rect">
            <a:avLst/>
          </a:prstGeom>
        </p:spPr>
        <p:txBody>
          <a:bodyPr/>
          <a:lstStyle>
            <a:lvl1pPr>
              <a:defRPr sz="14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14"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a:xfrm>
            <a:off x="8605477" y="6356350"/>
            <a:ext cx="2205958" cy="365125"/>
          </a:xfrm>
        </p:spPr>
        <p:txBody>
          <a:bodyPr/>
          <a:lstStyle/>
          <a:p>
            <a:r>
              <a:rPr lang="es-ES" err="1"/>
              <a:t>Proprietary</a:t>
            </a:r>
            <a:r>
              <a:rPr lang="es-ES"/>
              <a:t> </a:t>
            </a:r>
            <a:r>
              <a:rPr lang="es-ES" err="1"/>
              <a:t>Information</a:t>
            </a:r>
            <a:r>
              <a:rPr lang="es-ES"/>
              <a:t> - </a:t>
            </a:r>
            <a:r>
              <a:rPr lang="es-ES" err="1"/>
              <a:t>Confidential</a:t>
            </a:r>
            <a:endParaRPr lang="es-ES"/>
          </a:p>
        </p:txBody>
      </p:sp>
      <p:sp>
        <p:nvSpPr>
          <p:cNvPr id="10" name="Marcador de texto 37">
            <a:extLst>
              <a:ext uri="{FF2B5EF4-FFF2-40B4-BE49-F238E27FC236}">
                <a16:creationId xmlns:a16="http://schemas.microsoft.com/office/drawing/2014/main" id="{F470E907-620D-614B-6067-86F4A22B178F}"/>
              </a:ext>
            </a:extLst>
          </p:cNvPr>
          <p:cNvSpPr>
            <a:spLocks noGrp="1"/>
          </p:cNvSpPr>
          <p:nvPr>
            <p:ph type="body" sz="quarter" idx="19" hasCustomPrompt="1"/>
          </p:nvPr>
        </p:nvSpPr>
        <p:spPr>
          <a:xfrm>
            <a:off x="609507" y="3355192"/>
            <a:ext cx="3827227" cy="1417002"/>
          </a:xfrm>
          <a:prstGeom prst="rect">
            <a:avLst/>
          </a:prstGeom>
        </p:spPr>
        <p:txBody>
          <a:bodyPr anchor="t"/>
          <a:lstStyle>
            <a:lvl1pPr marL="0" indent="0">
              <a:buNone/>
              <a:defRPr sz="3600" b="1" i="0">
                <a:solidFill>
                  <a:schemeClr val="bg1"/>
                </a:solidFill>
                <a:latin typeface="Arial Narrow" panose="020B0604020202020204" pitchFamily="34" charset="0"/>
              </a:defRPr>
            </a:lvl1pPr>
          </a:lstStyle>
          <a:p>
            <a:pPr lvl="0"/>
            <a:r>
              <a:rPr lang="es-ES"/>
              <a:t>TOPIC</a:t>
            </a:r>
          </a:p>
        </p:txBody>
      </p:sp>
    </p:spTree>
    <p:extLst>
      <p:ext uri="{BB962C8B-B14F-4D97-AF65-F5344CB8AC3E}">
        <p14:creationId xmlns:p14="http://schemas.microsoft.com/office/powerpoint/2010/main" val="17761986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3_Section cover 3">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DF9D57-A756-F071-BA65-90B7000970E8}"/>
              </a:ext>
            </a:extLst>
          </p:cNvPr>
          <p:cNvGraphicFramePr>
            <a:graphicFrameLocks noChangeAspect="1"/>
          </p:cNvGraphicFramePr>
          <p:nvPr userDrawn="1">
            <p:custDataLst>
              <p:tags r:id="rId2"/>
            </p:custDataLst>
            <p:extLst>
              <p:ext uri="{D42A27DB-BD31-4B8C-83A1-F6EECF244321}">
                <p14:modId xmlns:p14="http://schemas.microsoft.com/office/powerpoint/2010/main" val="233706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Diapositiva de think-cell" r:id="rId4" imgW="411" imgH="411" progId="TCLayout.ActiveDocument.1">
                  <p:embed/>
                </p:oleObj>
              </mc:Choice>
              <mc:Fallback>
                <p:oleObj name="Diapositiva de think-cell" r:id="rId4" imgW="411" imgH="411" progId="TCLayout.ActiveDocument.1">
                  <p:embed/>
                  <p:pic>
                    <p:nvPicPr>
                      <p:cNvPr id="4" name="think-cell data - do not delete" hidden="1">
                        <a:extLst>
                          <a:ext uri="{FF2B5EF4-FFF2-40B4-BE49-F238E27FC236}">
                            <a16:creationId xmlns:a16="http://schemas.microsoft.com/office/drawing/2014/main" id="{02DF9D57-A756-F071-BA65-90B7000970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Marcador de posición de imagen 2">
            <a:extLst>
              <a:ext uri="{FF2B5EF4-FFF2-40B4-BE49-F238E27FC236}">
                <a16:creationId xmlns:a16="http://schemas.microsoft.com/office/drawing/2014/main" id="{5338DAC2-D070-2EF9-3EAF-793CD42162B3}"/>
              </a:ext>
            </a:extLst>
          </p:cNvPr>
          <p:cNvSpPr>
            <a:spLocks noGrp="1"/>
          </p:cNvSpPr>
          <p:nvPr>
            <p:ph type="pic" idx="1"/>
          </p:nvPr>
        </p:nvSpPr>
        <p:spPr>
          <a:xfrm>
            <a:off x="6211229" y="0"/>
            <a:ext cx="5980771" cy="6857999"/>
          </a:xfrm>
          <a:prstGeom prst="rect">
            <a:avLst/>
          </a:prstGeom>
        </p:spPr>
        <p:txBody>
          <a:bodyPr/>
          <a:lstStyle>
            <a:lvl1pPr marL="0" indent="0">
              <a:buNone/>
              <a:defRPr sz="3200" b="0" i="0">
                <a:solidFill>
                  <a:schemeClr val="bg1"/>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9" name="Marcador de texto 37">
            <a:extLst>
              <a:ext uri="{FF2B5EF4-FFF2-40B4-BE49-F238E27FC236}">
                <a16:creationId xmlns:a16="http://schemas.microsoft.com/office/drawing/2014/main" id="{6FE238B3-0BD9-988E-4611-BD18375F063D}"/>
              </a:ext>
            </a:extLst>
          </p:cNvPr>
          <p:cNvSpPr>
            <a:spLocks noGrp="1"/>
          </p:cNvSpPr>
          <p:nvPr>
            <p:ph type="body" sz="quarter" idx="13" hasCustomPrompt="1"/>
          </p:nvPr>
        </p:nvSpPr>
        <p:spPr>
          <a:xfrm>
            <a:off x="593249" y="2539028"/>
            <a:ext cx="1415902" cy="679210"/>
          </a:xfrm>
          <a:prstGeom prst="rect">
            <a:avLst/>
          </a:prstGeom>
        </p:spPr>
        <p:txBody>
          <a:bodyPr anchor="ctr"/>
          <a:lstStyle>
            <a:lvl1pPr marL="0" indent="0">
              <a:buNone/>
              <a:defRPr sz="5400" b="1" i="0">
                <a:solidFill>
                  <a:srgbClr val="0042ED"/>
                </a:solidFill>
                <a:latin typeface="Arial Narrow" panose="020B0604020202020204" pitchFamily="34" charset="0"/>
              </a:defRPr>
            </a:lvl1pPr>
          </a:lstStyle>
          <a:p>
            <a:pPr lvl="0"/>
            <a:r>
              <a:rPr lang="es-ES"/>
              <a:t>01</a:t>
            </a:r>
          </a:p>
        </p:txBody>
      </p:sp>
      <p:sp>
        <p:nvSpPr>
          <p:cNvPr id="5" name="Marcador de pie de página 5">
            <a:extLst>
              <a:ext uri="{FF2B5EF4-FFF2-40B4-BE49-F238E27FC236}">
                <a16:creationId xmlns:a16="http://schemas.microsoft.com/office/drawing/2014/main" id="{8326ED2D-2EFB-9614-21DA-EC8442079AA0}"/>
              </a:ext>
            </a:extLst>
          </p:cNvPr>
          <p:cNvSpPr>
            <a:spLocks noGrp="1"/>
          </p:cNvSpPr>
          <p:nvPr>
            <p:ph type="ftr" sz="quarter" idx="11"/>
          </p:nvPr>
        </p:nvSpPr>
        <p:spPr>
          <a:xfrm>
            <a:off x="8605477" y="6356350"/>
            <a:ext cx="2205958" cy="365125"/>
          </a:xfrm>
        </p:spPr>
        <p:txBody>
          <a:bodyPr/>
          <a:lstStyle/>
          <a:p>
            <a:r>
              <a:rPr lang="es-ES" err="1"/>
              <a:t>Proprietary</a:t>
            </a:r>
            <a:r>
              <a:rPr lang="es-ES"/>
              <a:t> </a:t>
            </a:r>
            <a:r>
              <a:rPr lang="es-ES" err="1"/>
              <a:t>Information</a:t>
            </a:r>
            <a:r>
              <a:rPr lang="es-ES"/>
              <a:t> - </a:t>
            </a:r>
            <a:r>
              <a:rPr lang="es-ES" err="1"/>
              <a:t>Confidential</a:t>
            </a:r>
            <a:endParaRPr lang="es-ES"/>
          </a:p>
        </p:txBody>
      </p:sp>
      <p:sp>
        <p:nvSpPr>
          <p:cNvPr id="6" name="Marcador de número de diapositiva 6">
            <a:extLst>
              <a:ext uri="{FF2B5EF4-FFF2-40B4-BE49-F238E27FC236}">
                <a16:creationId xmlns:a16="http://schemas.microsoft.com/office/drawing/2014/main" id="{878EDDC8-C948-BA17-CA39-CE9291AD62E6}"/>
              </a:ext>
            </a:extLst>
          </p:cNvPr>
          <p:cNvSpPr>
            <a:spLocks noGrp="1"/>
          </p:cNvSpPr>
          <p:nvPr>
            <p:ph type="sldNum" sz="quarter" idx="12"/>
          </p:nvPr>
        </p:nvSpPr>
        <p:spPr>
          <a:xfrm>
            <a:off x="10834487" y="6356350"/>
            <a:ext cx="980356" cy="365125"/>
          </a:xfrm>
        </p:spPr>
        <p:txBody>
          <a:bodyPr/>
          <a:lstStyle/>
          <a:p>
            <a:fld id="{FF2CED2D-DE01-CB40-AEF5-C9DD7CD06225}" type="slidenum">
              <a:rPr lang="es-ES" smtClean="0"/>
              <a:t>‹Nº›</a:t>
            </a:fld>
            <a:endParaRPr lang="es-ES"/>
          </a:p>
        </p:txBody>
      </p:sp>
      <p:sp>
        <p:nvSpPr>
          <p:cNvPr id="8" name="Marcador de texto 37">
            <a:extLst>
              <a:ext uri="{FF2B5EF4-FFF2-40B4-BE49-F238E27FC236}">
                <a16:creationId xmlns:a16="http://schemas.microsoft.com/office/drawing/2014/main" id="{F470E907-620D-614B-6067-86F4A22B178F}"/>
              </a:ext>
            </a:extLst>
          </p:cNvPr>
          <p:cNvSpPr>
            <a:spLocks noGrp="1"/>
          </p:cNvSpPr>
          <p:nvPr>
            <p:ph type="body" sz="quarter" idx="19" hasCustomPrompt="1"/>
          </p:nvPr>
        </p:nvSpPr>
        <p:spPr>
          <a:xfrm>
            <a:off x="609507" y="3355192"/>
            <a:ext cx="3827227" cy="1417002"/>
          </a:xfrm>
          <a:prstGeom prst="rect">
            <a:avLst/>
          </a:prstGeom>
        </p:spPr>
        <p:txBody>
          <a:bodyPr anchor="t"/>
          <a:lstStyle>
            <a:lvl1pPr marL="0" indent="0">
              <a:buNone/>
              <a:defRPr sz="3600" b="1" i="0">
                <a:solidFill>
                  <a:schemeClr val="tx1"/>
                </a:solidFill>
                <a:latin typeface="Arial Narrow" panose="020B0604020202020204" pitchFamily="34" charset="0"/>
              </a:defRPr>
            </a:lvl1pPr>
          </a:lstStyle>
          <a:p>
            <a:pPr lvl="0"/>
            <a:r>
              <a:rPr lang="es-ES"/>
              <a:t>TOPIC</a:t>
            </a:r>
          </a:p>
        </p:txBody>
      </p:sp>
    </p:spTree>
    <p:extLst>
      <p:ext uri="{BB962C8B-B14F-4D97-AF65-F5344CB8AC3E}">
        <p14:creationId xmlns:p14="http://schemas.microsoft.com/office/powerpoint/2010/main" val="1036724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4_Section cover">
    <p:bg>
      <p:bgPr>
        <a:solidFill>
          <a:srgbClr val="0042ED"/>
        </a:solidFill>
        <a:effectLst/>
      </p:bgPr>
    </p:bg>
    <p:spTree>
      <p:nvGrpSpPr>
        <p:cNvPr id="1" name=""/>
        <p:cNvGrpSpPr/>
        <p:nvPr/>
      </p:nvGrpSpPr>
      <p:grpSpPr>
        <a:xfrm>
          <a:off x="0" y="0"/>
          <a:ext cx="0" cy="0"/>
          <a:chOff x="0" y="0"/>
          <a:chExt cx="0" cy="0"/>
        </a:xfrm>
      </p:grpSpPr>
      <p:sp>
        <p:nvSpPr>
          <p:cNvPr id="40" name="Marcador de pie de página 4">
            <a:extLst>
              <a:ext uri="{FF2B5EF4-FFF2-40B4-BE49-F238E27FC236}">
                <a16:creationId xmlns:a16="http://schemas.microsoft.com/office/drawing/2014/main" id="{C95CB7AC-35E4-A7E4-93F5-AD5DF7FD5AFF}"/>
              </a:ext>
            </a:extLst>
          </p:cNvPr>
          <p:cNvSpPr>
            <a:spLocks noGrp="1"/>
          </p:cNvSpPr>
          <p:nvPr>
            <p:ph type="ftr" sz="quarter" idx="3"/>
          </p:nvPr>
        </p:nvSpPr>
        <p:spPr>
          <a:xfrm>
            <a:off x="8605477" y="6356350"/>
            <a:ext cx="2205958" cy="365125"/>
          </a:xfrm>
          <a:prstGeom prst="rect">
            <a:avLst/>
          </a:prstGeom>
        </p:spPr>
        <p:txBody>
          <a:bodyPr vert="horz" lIns="91440" tIns="45720" rIns="91440" bIns="45720" rtlCol="0" anchor="ctr"/>
          <a:lstStyle>
            <a:lvl1pPr algn="l">
              <a:defRPr sz="900" b="0" i="0">
                <a:solidFill>
                  <a:schemeClr val="bg1"/>
                </a:solidFill>
                <a:latin typeface="Arial" panose="020B0604020202020204" pitchFamily="34" charset="0"/>
                <a:cs typeface="Arial" panose="020B0604020202020204" pitchFamily="34" charset="0"/>
              </a:defRPr>
            </a:lvl1pPr>
          </a:lstStyle>
          <a:p>
            <a:r>
              <a:rPr lang="en-US">
                <a:sym typeface="Century Gothic" panose="020B0502020202020204" pitchFamily="34" charset="0"/>
              </a:rPr>
              <a:t>Proprietary Information - Confidential</a:t>
            </a:r>
          </a:p>
        </p:txBody>
      </p:sp>
      <p:sp>
        <p:nvSpPr>
          <p:cNvPr id="41" name="Marcador de número de diapositiva 5">
            <a:extLst>
              <a:ext uri="{FF2B5EF4-FFF2-40B4-BE49-F238E27FC236}">
                <a16:creationId xmlns:a16="http://schemas.microsoft.com/office/drawing/2014/main" id="{569B5B9B-376F-C705-5B0F-9F2F46AF0001}"/>
              </a:ext>
            </a:extLst>
          </p:cNvPr>
          <p:cNvSpPr>
            <a:spLocks noGrp="1"/>
          </p:cNvSpPr>
          <p:nvPr>
            <p:ph type="sldNum" sz="quarter" idx="4"/>
          </p:nvPr>
        </p:nvSpPr>
        <p:spPr>
          <a:xfrm>
            <a:off x="10834487" y="6356350"/>
            <a:ext cx="980356" cy="365125"/>
          </a:xfrm>
          <a:prstGeom prst="rect">
            <a:avLst/>
          </a:prstGeom>
        </p:spPr>
        <p:txBody>
          <a:bodyPr vert="horz" lIns="91440" tIns="45720" rIns="91440" bIns="45720" rtlCol="0" anchor="ctr"/>
          <a:lstStyle>
            <a:lvl1pPr algn="r">
              <a:defRPr sz="900" b="0" i="0">
                <a:solidFill>
                  <a:schemeClr val="bg1"/>
                </a:solidFill>
                <a:latin typeface="Arial" panose="020B0604020202020204" pitchFamily="34" charset="0"/>
                <a:cs typeface="Arial" panose="020B0604020202020204" pitchFamily="34" charset="0"/>
              </a:defRPr>
            </a:lvl1pPr>
          </a:lstStyle>
          <a:p>
            <a:fld id="{FF2CED2D-DE01-CB40-AEF5-C9DD7CD06225}" type="slidenum">
              <a:rPr lang="es-ES" smtClean="0"/>
              <a:pPr/>
              <a:t>‹Nº›</a:t>
            </a:fld>
            <a:endParaRPr lang="es-ES"/>
          </a:p>
        </p:txBody>
      </p:sp>
      <p:sp>
        <p:nvSpPr>
          <p:cNvPr id="4" name="Marcador de texto 37">
            <a:extLst>
              <a:ext uri="{FF2B5EF4-FFF2-40B4-BE49-F238E27FC236}">
                <a16:creationId xmlns:a16="http://schemas.microsoft.com/office/drawing/2014/main" id="{66D52F48-9492-9122-80DA-4C8D0CC457E3}"/>
              </a:ext>
            </a:extLst>
          </p:cNvPr>
          <p:cNvSpPr>
            <a:spLocks noGrp="1"/>
          </p:cNvSpPr>
          <p:nvPr>
            <p:ph type="body" sz="quarter" idx="13" hasCustomPrompt="1"/>
          </p:nvPr>
        </p:nvSpPr>
        <p:spPr>
          <a:xfrm>
            <a:off x="593249" y="2539028"/>
            <a:ext cx="1415902" cy="679210"/>
          </a:xfrm>
          <a:prstGeom prst="rect">
            <a:avLst/>
          </a:prstGeom>
        </p:spPr>
        <p:txBody>
          <a:bodyPr anchor="ctr"/>
          <a:lstStyle>
            <a:lvl1pPr marL="0" indent="0">
              <a:buNone/>
              <a:defRPr sz="5400" b="1" i="0">
                <a:solidFill>
                  <a:schemeClr val="bg1"/>
                </a:solidFill>
                <a:latin typeface="Arial Narrow" panose="020B0604020202020204" pitchFamily="34" charset="0"/>
              </a:defRPr>
            </a:lvl1pPr>
          </a:lstStyle>
          <a:p>
            <a:pPr lvl="0"/>
            <a:r>
              <a:rPr lang="es-ES"/>
              <a:t>01</a:t>
            </a:r>
          </a:p>
        </p:txBody>
      </p:sp>
      <p:pic>
        <p:nvPicPr>
          <p:cNvPr id="3" name="Imagen 1">
            <a:extLst>
              <a:ext uri="{FF2B5EF4-FFF2-40B4-BE49-F238E27FC236}">
                <a16:creationId xmlns:a16="http://schemas.microsoft.com/office/drawing/2014/main" id="{9492381F-C020-8443-2524-CA2A35218A28}"/>
              </a:ext>
            </a:extLst>
          </p:cNvPr>
          <p:cNvPicPr/>
          <p:nvPr userDrawn="1"/>
        </p:nvPicPr>
        <p:blipFill>
          <a:blip r:embed="rId2"/>
          <a:stretch>
            <a:fillRect/>
          </a:stretch>
        </p:blipFill>
        <p:spPr>
          <a:xfrm>
            <a:off x="653742" y="6320455"/>
            <a:ext cx="663716" cy="293070"/>
          </a:xfrm>
          <a:prstGeom prst="rect">
            <a:avLst/>
          </a:prstGeom>
        </p:spPr>
      </p:pic>
      <p:sp>
        <p:nvSpPr>
          <p:cNvPr id="8" name="Marcador de posición de imagen 2">
            <a:extLst>
              <a:ext uri="{FF2B5EF4-FFF2-40B4-BE49-F238E27FC236}">
                <a16:creationId xmlns:a16="http://schemas.microsoft.com/office/drawing/2014/main" id="{C1AC71DB-90C7-AEDF-FAB4-EBA8EB91AA98}"/>
              </a:ext>
            </a:extLst>
          </p:cNvPr>
          <p:cNvSpPr>
            <a:spLocks noGrp="1"/>
          </p:cNvSpPr>
          <p:nvPr>
            <p:ph type="pic" idx="1"/>
          </p:nvPr>
        </p:nvSpPr>
        <p:spPr>
          <a:xfrm>
            <a:off x="6211229" y="0"/>
            <a:ext cx="5980771" cy="6857999"/>
          </a:xfrm>
          <a:prstGeom prst="rect">
            <a:avLst/>
          </a:prstGeom>
        </p:spPr>
        <p:txBody>
          <a:bodyPr/>
          <a:lstStyle>
            <a:lvl1pPr marL="0" indent="0">
              <a:buNone/>
              <a:defRPr sz="3200" b="0" i="0">
                <a:solidFill>
                  <a:schemeClr val="bg1"/>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9" name="Marcador de texto 37">
            <a:extLst>
              <a:ext uri="{FF2B5EF4-FFF2-40B4-BE49-F238E27FC236}">
                <a16:creationId xmlns:a16="http://schemas.microsoft.com/office/drawing/2014/main" id="{F470E907-620D-614B-6067-86F4A22B178F}"/>
              </a:ext>
            </a:extLst>
          </p:cNvPr>
          <p:cNvSpPr>
            <a:spLocks noGrp="1"/>
          </p:cNvSpPr>
          <p:nvPr>
            <p:ph type="body" sz="quarter" idx="19" hasCustomPrompt="1"/>
          </p:nvPr>
        </p:nvSpPr>
        <p:spPr>
          <a:xfrm>
            <a:off x="609507" y="3355192"/>
            <a:ext cx="3827227" cy="1417002"/>
          </a:xfrm>
          <a:prstGeom prst="rect">
            <a:avLst/>
          </a:prstGeom>
        </p:spPr>
        <p:txBody>
          <a:bodyPr anchor="t"/>
          <a:lstStyle>
            <a:lvl1pPr marL="0" indent="0">
              <a:buNone/>
              <a:defRPr sz="3600" b="1" i="0">
                <a:solidFill>
                  <a:schemeClr val="bg1"/>
                </a:solidFill>
                <a:latin typeface="Arial Narrow" panose="020B0604020202020204" pitchFamily="34" charset="0"/>
              </a:defRPr>
            </a:lvl1pPr>
          </a:lstStyle>
          <a:p>
            <a:pPr lvl="0"/>
            <a:r>
              <a:rPr lang="es-ES"/>
              <a:t>TOPIC</a:t>
            </a:r>
          </a:p>
        </p:txBody>
      </p:sp>
    </p:spTree>
    <p:extLst>
      <p:ext uri="{BB962C8B-B14F-4D97-AF65-F5344CB8AC3E}">
        <p14:creationId xmlns:p14="http://schemas.microsoft.com/office/powerpoint/2010/main" val="37856311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1_Title Blu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2" name="Marcador de texto 12">
            <a:extLst>
              <a:ext uri="{FF2B5EF4-FFF2-40B4-BE49-F238E27FC236}">
                <a16:creationId xmlns:a16="http://schemas.microsoft.com/office/drawing/2014/main" id="{4F791C7A-FE3C-AF01-0C33-8A0C5B3ED6C8}"/>
              </a:ext>
            </a:extLst>
          </p:cNvPr>
          <p:cNvSpPr>
            <a:spLocks noGrp="1"/>
          </p:cNvSpPr>
          <p:nvPr>
            <p:ph type="body" sz="quarter" idx="15"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3854843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2_Title &amp; Text Blue">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2" name="Marcador de texto 12">
            <a:extLst>
              <a:ext uri="{FF2B5EF4-FFF2-40B4-BE49-F238E27FC236}">
                <a16:creationId xmlns:a16="http://schemas.microsoft.com/office/drawing/2014/main" id="{D3ED31C2-5CB2-8FF1-0A77-2C8ED8DADB25}"/>
              </a:ext>
            </a:extLst>
          </p:cNvPr>
          <p:cNvSpPr>
            <a:spLocks noGrp="1"/>
          </p:cNvSpPr>
          <p:nvPr>
            <p:ph type="body" sz="quarter" idx="25"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3" name="Marcador de texto 4">
            <a:extLst>
              <a:ext uri="{FF2B5EF4-FFF2-40B4-BE49-F238E27FC236}">
                <a16:creationId xmlns:a16="http://schemas.microsoft.com/office/drawing/2014/main" id="{90121B88-D472-CFA5-92DF-6D5C95D6AC05}"/>
              </a:ext>
            </a:extLst>
          </p:cNvPr>
          <p:cNvSpPr>
            <a:spLocks noGrp="1"/>
          </p:cNvSpPr>
          <p:nvPr>
            <p:ph type="body" sz="quarter" idx="26"/>
          </p:nvPr>
        </p:nvSpPr>
        <p:spPr>
          <a:xfrm>
            <a:off x="555625" y="1558184"/>
            <a:ext cx="11150600"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447939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3_Title &amp; Text Blu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11150600"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9"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2" name="Marcador de texto 2">
            <a:extLst>
              <a:ext uri="{FF2B5EF4-FFF2-40B4-BE49-F238E27FC236}">
                <a16:creationId xmlns:a16="http://schemas.microsoft.com/office/drawing/2014/main" id="{67D4113F-8F47-0E10-85EF-66D4A79B8C4B}"/>
              </a:ext>
            </a:extLst>
          </p:cNvPr>
          <p:cNvSpPr>
            <a:spLocks noGrp="1"/>
          </p:cNvSpPr>
          <p:nvPr>
            <p:ph type="body" sz="quarter" idx="15" hasCustomPrompt="1"/>
          </p:nvPr>
        </p:nvSpPr>
        <p:spPr>
          <a:xfrm>
            <a:off x="555307" y="974785"/>
            <a:ext cx="11151138"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1121146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4_Title &amp; Text Blu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5472000"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Marcador de texto 4">
            <a:extLst>
              <a:ext uri="{FF2B5EF4-FFF2-40B4-BE49-F238E27FC236}">
                <a16:creationId xmlns:a16="http://schemas.microsoft.com/office/drawing/2014/main" id="{46110C71-7C0D-1FD2-2068-A8A0C1B48270}"/>
              </a:ext>
            </a:extLst>
          </p:cNvPr>
          <p:cNvSpPr>
            <a:spLocks noGrp="1"/>
          </p:cNvSpPr>
          <p:nvPr>
            <p:ph type="body" sz="quarter" idx="26"/>
          </p:nvPr>
        </p:nvSpPr>
        <p:spPr>
          <a:xfrm>
            <a:off x="6234445" y="1558181"/>
            <a:ext cx="5472000" cy="4528293"/>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2" name="Marcador de texto 2">
            <a:extLst>
              <a:ext uri="{FF2B5EF4-FFF2-40B4-BE49-F238E27FC236}">
                <a16:creationId xmlns:a16="http://schemas.microsoft.com/office/drawing/2014/main" id="{952BA8CA-55F1-69FB-E463-526B66CD6454}"/>
              </a:ext>
            </a:extLst>
          </p:cNvPr>
          <p:cNvSpPr>
            <a:spLocks noGrp="1"/>
          </p:cNvSpPr>
          <p:nvPr>
            <p:ph type="body" sz="quarter" idx="27" hasCustomPrompt="1"/>
          </p:nvPr>
        </p:nvSpPr>
        <p:spPr>
          <a:xfrm>
            <a:off x="6234445" y="974785"/>
            <a:ext cx="5472000" cy="537507"/>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
        <p:nvSpPr>
          <p:cNvPr id="13" name="Marcador de texto 12">
            <a:extLst>
              <a:ext uri="{FF2B5EF4-FFF2-40B4-BE49-F238E27FC236}">
                <a16:creationId xmlns:a16="http://schemas.microsoft.com/office/drawing/2014/main" id="{40EC9D3A-3F59-6F25-44CB-5F1B89D3458F}"/>
              </a:ext>
            </a:extLst>
          </p:cNvPr>
          <p:cNvSpPr>
            <a:spLocks noGrp="1"/>
          </p:cNvSpPr>
          <p:nvPr>
            <p:ph type="body" sz="quarter" idx="28"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14" name="Marcador de texto 2">
            <a:extLst>
              <a:ext uri="{FF2B5EF4-FFF2-40B4-BE49-F238E27FC236}">
                <a16:creationId xmlns:a16="http://schemas.microsoft.com/office/drawing/2014/main" id="{801FC758-6A62-984D-53DC-9CFDE810BCA5}"/>
              </a:ext>
            </a:extLst>
          </p:cNvPr>
          <p:cNvSpPr>
            <a:spLocks noGrp="1"/>
          </p:cNvSpPr>
          <p:nvPr>
            <p:ph type="body" sz="quarter" idx="15" hasCustomPrompt="1"/>
          </p:nvPr>
        </p:nvSpPr>
        <p:spPr>
          <a:xfrm>
            <a:off x="555307" y="974785"/>
            <a:ext cx="5472000"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885186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1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8435975"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74E38E8D-26C3-7BF9-8B2A-3C8121FF61D0}"/>
              </a:ext>
            </a:extLst>
          </p:cNvPr>
          <p:cNvSpPr/>
          <p:nvPr userDrawn="1"/>
        </p:nvSpPr>
        <p:spPr>
          <a:xfrm>
            <a:off x="9182100" y="974785"/>
            <a:ext cx="3009900" cy="523551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74A8B940-649A-3B02-65B0-99FCCC529CD2}"/>
              </a:ext>
            </a:extLst>
          </p:cNvPr>
          <p:cNvSpPr>
            <a:spLocks noGrp="1"/>
          </p:cNvSpPr>
          <p:nvPr>
            <p:ph type="body" sz="quarter" idx="26"/>
          </p:nvPr>
        </p:nvSpPr>
        <p:spPr>
          <a:xfrm>
            <a:off x="9391650" y="1138687"/>
            <a:ext cx="2628900" cy="4947789"/>
          </a:xfrm>
          <a:prstGeom prst="rect">
            <a:avLst/>
          </a:prstGeom>
        </p:spPr>
        <p:txBody>
          <a:bodyPr/>
          <a:lstStyle>
            <a:lvl1pPr>
              <a:defRPr sz="1600">
                <a:solidFill>
                  <a:schemeClr val="bg1"/>
                </a:solidFill>
                <a:latin typeface="+mn-lt"/>
              </a:defRPr>
            </a:lvl1pPr>
            <a:lvl2pPr>
              <a:defRPr sz="1400">
                <a:solidFill>
                  <a:schemeClr val="bg1"/>
                </a:solidFill>
                <a:latin typeface="+mn-lt"/>
              </a:defRPr>
            </a:lvl2pPr>
            <a:lvl3pPr>
              <a:defRPr sz="1200">
                <a:solidFill>
                  <a:schemeClr val="bg1"/>
                </a:solidFill>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4" name="Marcador de texto 12">
            <a:extLst>
              <a:ext uri="{FF2B5EF4-FFF2-40B4-BE49-F238E27FC236}">
                <a16:creationId xmlns:a16="http://schemas.microsoft.com/office/drawing/2014/main" id="{22D24435-7F38-5A72-8C85-AD0C9A359691}"/>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15" name="Marcador de texto 2">
            <a:extLst>
              <a:ext uri="{FF2B5EF4-FFF2-40B4-BE49-F238E27FC236}">
                <a16:creationId xmlns:a16="http://schemas.microsoft.com/office/drawing/2014/main" id="{C127F20B-626E-F605-BD60-7118AF31A3BA}"/>
              </a:ext>
            </a:extLst>
          </p:cNvPr>
          <p:cNvSpPr>
            <a:spLocks noGrp="1"/>
          </p:cNvSpPr>
          <p:nvPr>
            <p:ph type="body" sz="quarter" idx="28" hasCustomPrompt="1"/>
          </p:nvPr>
        </p:nvSpPr>
        <p:spPr>
          <a:xfrm>
            <a:off x="555307" y="974785"/>
            <a:ext cx="843597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2670953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White">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A36E74-C5DE-7CBF-C575-E36CE9EF3372}"/>
              </a:ext>
            </a:extLst>
          </p:cNvPr>
          <p:cNvGraphicFramePr>
            <a:graphicFrameLocks noChangeAspect="1"/>
          </p:cNvGraphicFramePr>
          <p:nvPr userDrawn="1">
            <p:custDataLst>
              <p:tags r:id="rId2"/>
            </p:custDataLst>
            <p:extLst>
              <p:ext uri="{D42A27DB-BD31-4B8C-83A1-F6EECF244321}">
                <p14:modId xmlns:p14="http://schemas.microsoft.com/office/powerpoint/2010/main" val="33106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a de think-cell" r:id="rId4" imgW="360" imgH="360" progId="TCLayout.ActiveDocument.1">
                  <p:embed/>
                </p:oleObj>
              </mc:Choice>
              <mc:Fallback>
                <p:oleObj name="Diapositiva de think-cell" r:id="rId4" imgW="360" imgH="360" progId="TCLayout.ActiveDocument.1">
                  <p:embed/>
                  <p:pic>
                    <p:nvPicPr>
                      <p:cNvPr id="7" name="think-cell data - do not delete" hidden="1">
                        <a:extLst>
                          <a:ext uri="{FF2B5EF4-FFF2-40B4-BE49-F238E27FC236}">
                            <a16:creationId xmlns:a16="http://schemas.microsoft.com/office/drawing/2014/main" id="{FEA36E74-C5DE-7CBF-C575-E36CE9EF33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descr="Logotipo&#10;&#10;Descripción generada automáticamente">
            <a:extLst>
              <a:ext uri="{FF2B5EF4-FFF2-40B4-BE49-F238E27FC236}">
                <a16:creationId xmlns:a16="http://schemas.microsoft.com/office/drawing/2014/main" id="{3679C8AB-DF1F-6A48-9FFD-BECC8752A52D}"/>
              </a:ext>
            </a:extLst>
          </p:cNvPr>
          <p:cNvPicPr>
            <a:picLocks noChangeAspect="1"/>
          </p:cNvPicPr>
          <p:nvPr userDrawn="1"/>
        </p:nvPicPr>
        <p:blipFill>
          <a:blip r:embed="rId6"/>
          <a:stretch>
            <a:fillRect/>
          </a:stretch>
        </p:blipFill>
        <p:spPr>
          <a:xfrm>
            <a:off x="8032377" y="2258067"/>
            <a:ext cx="3872751" cy="2341865"/>
          </a:xfrm>
          <a:prstGeom prst="rect">
            <a:avLst/>
          </a:prstGeom>
        </p:spPr>
      </p:pic>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0" y="2921282"/>
            <a:ext cx="6480000" cy="999565"/>
          </a:xfrm>
          <a:prstGeom prst="rect">
            <a:avLst/>
          </a:prstGeom>
        </p:spPr>
        <p:txBody>
          <a:bodyPr vert="horz" anchor="ctr"/>
          <a:lstStyle>
            <a:lvl1pPr>
              <a:defRPr sz="3600" b="1" i="0">
                <a:solidFill>
                  <a:srgbClr val="0042ED"/>
                </a:solidFill>
                <a:latin typeface="Arial Narrow" panose="020B0604020202020204" pitchFamily="34" charset="0"/>
              </a:defRPr>
            </a:lvl1pPr>
          </a:lstStyle>
          <a:p>
            <a:r>
              <a:rPr lang="es-ES"/>
              <a:t>TITLE OF THE PRESENTATION</a:t>
            </a:r>
          </a:p>
        </p:txBody>
      </p:sp>
      <p:sp>
        <p:nvSpPr>
          <p:cNvPr id="9" name="Marcador de texto 3">
            <a:extLst>
              <a:ext uri="{FF2B5EF4-FFF2-40B4-BE49-F238E27FC236}">
                <a16:creationId xmlns:a16="http://schemas.microsoft.com/office/drawing/2014/main" id="{A693E489-2CF1-15CA-1564-812DB4F5958B}"/>
              </a:ext>
            </a:extLst>
          </p:cNvPr>
          <p:cNvSpPr>
            <a:spLocks noGrp="1"/>
          </p:cNvSpPr>
          <p:nvPr>
            <p:ph type="body" sz="half" idx="2" hasCustomPrompt="1"/>
          </p:nvPr>
        </p:nvSpPr>
        <p:spPr>
          <a:xfrm>
            <a:off x="535610" y="3920847"/>
            <a:ext cx="6480000" cy="696756"/>
          </a:xfrm>
          <a:prstGeom prst="rect">
            <a:avLst/>
          </a:prstGeom>
        </p:spPr>
        <p:txBody>
          <a:bodyPr/>
          <a:lstStyle>
            <a:lvl1pPr marL="0" indent="0">
              <a:buNone/>
              <a:defRPr sz="2000" b="0" i="0">
                <a:solidFill>
                  <a:srgbClr val="0042ED"/>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Subtitle</a:t>
            </a:r>
          </a:p>
        </p:txBody>
      </p:sp>
      <p:sp>
        <p:nvSpPr>
          <p:cNvPr id="10" name="CuadroTexto 9">
            <a:extLst>
              <a:ext uri="{FF2B5EF4-FFF2-40B4-BE49-F238E27FC236}">
                <a16:creationId xmlns:a16="http://schemas.microsoft.com/office/drawing/2014/main" id="{3213E486-EF19-1D31-6971-4DE69A62B9A6}"/>
              </a:ext>
            </a:extLst>
          </p:cNvPr>
          <p:cNvSpPr txBox="1"/>
          <p:nvPr userDrawn="1"/>
        </p:nvSpPr>
        <p:spPr>
          <a:xfrm>
            <a:off x="535611" y="5441678"/>
            <a:ext cx="4636752" cy="1154162"/>
          </a:xfrm>
          <a:prstGeom prst="rect">
            <a:avLst/>
          </a:prstGeom>
          <a:noFill/>
        </p:spPr>
        <p:txBody>
          <a:bodyPr wrap="square" rtlCol="0">
            <a:spAutoFit/>
          </a:bodyPr>
          <a:lstStyle/>
          <a:p>
            <a:pPr eaLnBrk="0" hangingPunct="0">
              <a:spcAft>
                <a:spcPts val="600"/>
              </a:spcAft>
              <a:tabLst>
                <a:tab pos="2400300" algn="l"/>
              </a:tabLst>
            </a:pP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RIETARY AND CONFIDENTIAL </a:t>
            </a:r>
          </a:p>
          <a:p>
            <a:pPr eaLnBrk="0" hangingPunct="0">
              <a:spcAft>
                <a:spcPts val="0"/>
              </a:spcAft>
              <a:tabLst>
                <a:tab pos="2400300" algn="l"/>
              </a:tabLst>
            </a:pP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Industria de Turbo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S.A.U (ITP Aero) and/or its affiliates 2025. All rights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reserved.Thi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Presentation is provided to the recipient for informational purposes. No representations or warranties are made by ITP Aero or its direct and indirect equity holders and their respective affiliates as to the accuracy of the information contained herein and any guidance and/or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jections.The</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information in this document shall not be used for any purpose other than that for which it is supplied, nor disclosed without the express previous written consent of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Industria</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de Turbo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S.A.U. and/or its affiliates.</a:t>
            </a:r>
          </a:p>
        </p:txBody>
      </p:sp>
    </p:spTree>
    <p:extLst>
      <p:ext uri="{BB962C8B-B14F-4D97-AF65-F5344CB8AC3E}">
        <p14:creationId xmlns:p14="http://schemas.microsoft.com/office/powerpoint/2010/main" val="23364422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2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11150600" cy="29661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F8D19AC3-0C2B-E3F1-C084-50C7FED3FFFA}"/>
              </a:ext>
            </a:extLst>
          </p:cNvPr>
          <p:cNvSpPr/>
          <p:nvPr userDrawn="1"/>
        </p:nvSpPr>
        <p:spPr>
          <a:xfrm>
            <a:off x="0" y="4698889"/>
            <a:ext cx="12192000" cy="151141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36D4DF99-69C0-94C2-FC6F-D0CB9C1F0D6A}"/>
              </a:ext>
            </a:extLst>
          </p:cNvPr>
          <p:cNvSpPr>
            <a:spLocks noGrp="1"/>
          </p:cNvSpPr>
          <p:nvPr>
            <p:ph type="body" sz="quarter" idx="26"/>
          </p:nvPr>
        </p:nvSpPr>
        <p:spPr>
          <a:xfrm>
            <a:off x="555625" y="4856163"/>
            <a:ext cx="11150600" cy="1163638"/>
          </a:xfrm>
          <a:prstGeom prst="rect">
            <a:avLst/>
          </a:prstGeom>
        </p:spPr>
        <p:txBody>
          <a:bodyPr/>
          <a:lstStyle>
            <a:lvl1pPr marL="0" indent="0">
              <a:buNone/>
              <a:defRPr sz="1600">
                <a:solidFill>
                  <a:schemeClr val="bg1"/>
                </a:solidFill>
                <a:latin typeface="+mn-lt"/>
              </a:defRPr>
            </a:lvl1pPr>
            <a:lvl2pPr marL="457200" indent="0">
              <a:buNone/>
              <a:defRPr sz="1400">
                <a:latin typeface="+mn-lt"/>
              </a:defRPr>
            </a:lvl2pPr>
            <a:lvl3pPr marL="914400" indent="0">
              <a:buNone/>
              <a:defRPr sz="1200">
                <a:latin typeface="+mn-lt"/>
              </a:defRPr>
            </a:lvl3pPr>
            <a:lvl4pPr>
              <a:defRPr>
                <a:latin typeface="+mn-lt"/>
              </a:defRPr>
            </a:lvl4pPr>
            <a:lvl5pPr>
              <a:defRPr>
                <a:latin typeface="+mn-lt"/>
              </a:defRPr>
            </a:lvl5pPr>
          </a:lstStyle>
          <a:p>
            <a:pPr lvl="0"/>
            <a:r>
              <a:rPr lang="es-ES"/>
              <a:t>Haga clic para modificar los estilos de texto del patrón</a:t>
            </a:r>
          </a:p>
        </p:txBody>
      </p:sp>
      <p:sp>
        <p:nvSpPr>
          <p:cNvPr id="11" name="Marcador de texto 12">
            <a:extLst>
              <a:ext uri="{FF2B5EF4-FFF2-40B4-BE49-F238E27FC236}">
                <a16:creationId xmlns:a16="http://schemas.microsoft.com/office/drawing/2014/main" id="{2122439D-C182-894A-B2EC-68F50E8BC9D0}"/>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12" name="Marcador de texto 2">
            <a:extLst>
              <a:ext uri="{FF2B5EF4-FFF2-40B4-BE49-F238E27FC236}">
                <a16:creationId xmlns:a16="http://schemas.microsoft.com/office/drawing/2014/main" id="{C06AF79A-03C8-F002-588F-4A5764D75628}"/>
              </a:ext>
            </a:extLst>
          </p:cNvPr>
          <p:cNvSpPr>
            <a:spLocks noGrp="1"/>
          </p:cNvSpPr>
          <p:nvPr>
            <p:ph type="body" sz="quarter" idx="28" hasCustomPrompt="1"/>
          </p:nvPr>
        </p:nvSpPr>
        <p:spPr>
          <a:xfrm>
            <a:off x="555307" y="974785"/>
            <a:ext cx="11150600"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38027051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3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8435975"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74E38E8D-26C3-7BF9-8B2A-3C8121FF61D0}"/>
              </a:ext>
            </a:extLst>
          </p:cNvPr>
          <p:cNvSpPr/>
          <p:nvPr userDrawn="1"/>
        </p:nvSpPr>
        <p:spPr>
          <a:xfrm>
            <a:off x="9182100" y="974785"/>
            <a:ext cx="3009900" cy="523551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74A8B940-649A-3B02-65B0-99FCCC529CD2}"/>
              </a:ext>
            </a:extLst>
          </p:cNvPr>
          <p:cNvSpPr>
            <a:spLocks noGrp="1"/>
          </p:cNvSpPr>
          <p:nvPr>
            <p:ph type="body" sz="quarter" idx="26"/>
          </p:nvPr>
        </p:nvSpPr>
        <p:spPr>
          <a:xfrm>
            <a:off x="9391650" y="1138687"/>
            <a:ext cx="2628900" cy="4947789"/>
          </a:xfrm>
          <a:prstGeom prst="rect">
            <a:avLst/>
          </a:prstGeom>
        </p:spPr>
        <p:txBody>
          <a:bodyPr/>
          <a:lstStyle>
            <a:lvl1pPr>
              <a:defRPr sz="1600">
                <a:solidFill>
                  <a:sysClr val="windowText" lastClr="000000"/>
                </a:solidFill>
                <a:latin typeface="+mn-lt"/>
              </a:defRPr>
            </a:lvl1pPr>
            <a:lvl2pPr>
              <a:defRPr sz="1400">
                <a:solidFill>
                  <a:sysClr val="windowText" lastClr="000000"/>
                </a:solidFill>
                <a:latin typeface="+mn-lt"/>
              </a:defRPr>
            </a:lvl2pPr>
            <a:lvl3pPr>
              <a:defRPr sz="1200">
                <a:solidFill>
                  <a:sysClr val="windowText" lastClr="000000"/>
                </a:solidFill>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4" name="Marcador de texto 12">
            <a:extLst>
              <a:ext uri="{FF2B5EF4-FFF2-40B4-BE49-F238E27FC236}">
                <a16:creationId xmlns:a16="http://schemas.microsoft.com/office/drawing/2014/main" id="{22D24435-7F38-5A72-8C85-AD0C9A359691}"/>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
        <p:nvSpPr>
          <p:cNvPr id="15" name="Marcador de texto 2">
            <a:extLst>
              <a:ext uri="{FF2B5EF4-FFF2-40B4-BE49-F238E27FC236}">
                <a16:creationId xmlns:a16="http://schemas.microsoft.com/office/drawing/2014/main" id="{C127F20B-626E-F605-BD60-7118AF31A3BA}"/>
              </a:ext>
            </a:extLst>
          </p:cNvPr>
          <p:cNvSpPr>
            <a:spLocks noGrp="1"/>
          </p:cNvSpPr>
          <p:nvPr>
            <p:ph type="body" sz="quarter" idx="28" hasCustomPrompt="1"/>
          </p:nvPr>
        </p:nvSpPr>
        <p:spPr>
          <a:xfrm>
            <a:off x="555307" y="974785"/>
            <a:ext cx="843597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9957356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4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11150600" cy="29661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F8D19AC3-0C2B-E3F1-C084-50C7FED3FFFA}"/>
              </a:ext>
            </a:extLst>
          </p:cNvPr>
          <p:cNvSpPr/>
          <p:nvPr userDrawn="1"/>
        </p:nvSpPr>
        <p:spPr>
          <a:xfrm>
            <a:off x="0" y="4698889"/>
            <a:ext cx="12192000" cy="151141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36D4DF99-69C0-94C2-FC6F-D0CB9C1F0D6A}"/>
              </a:ext>
            </a:extLst>
          </p:cNvPr>
          <p:cNvSpPr>
            <a:spLocks noGrp="1"/>
          </p:cNvSpPr>
          <p:nvPr>
            <p:ph type="body" sz="quarter" idx="26"/>
          </p:nvPr>
        </p:nvSpPr>
        <p:spPr>
          <a:xfrm>
            <a:off x="555625" y="4856163"/>
            <a:ext cx="11150600" cy="1163638"/>
          </a:xfrm>
          <a:prstGeom prst="rect">
            <a:avLst/>
          </a:prstGeom>
        </p:spPr>
        <p:txBody>
          <a:bodyPr/>
          <a:lstStyle>
            <a:lvl1pPr marL="0" indent="0">
              <a:buNone/>
              <a:defRPr sz="1600">
                <a:solidFill>
                  <a:sysClr val="windowText" lastClr="000000"/>
                </a:solidFill>
                <a:latin typeface="+mn-lt"/>
              </a:defRPr>
            </a:lvl1pPr>
            <a:lvl2pPr marL="457200" indent="0">
              <a:buNone/>
              <a:defRPr sz="1400">
                <a:latin typeface="+mn-lt"/>
              </a:defRPr>
            </a:lvl2pPr>
            <a:lvl3pPr marL="914400" indent="0">
              <a:buNone/>
              <a:defRPr sz="1200">
                <a:latin typeface="+mn-lt"/>
              </a:defRPr>
            </a:lvl3pPr>
            <a:lvl4pPr>
              <a:defRPr>
                <a:latin typeface="+mn-lt"/>
              </a:defRPr>
            </a:lvl4pPr>
            <a:lvl5pPr>
              <a:defRPr>
                <a:latin typeface="+mn-lt"/>
              </a:defRPr>
            </a:lvl5pPr>
          </a:lstStyle>
          <a:p>
            <a:pPr lvl="0"/>
            <a:r>
              <a:rPr lang="es-ES"/>
              <a:t>Haga clic para modificar los estilos de texto del patrón</a:t>
            </a:r>
          </a:p>
        </p:txBody>
      </p:sp>
      <p:sp>
        <p:nvSpPr>
          <p:cNvPr id="11" name="Marcador de texto 12">
            <a:extLst>
              <a:ext uri="{FF2B5EF4-FFF2-40B4-BE49-F238E27FC236}">
                <a16:creationId xmlns:a16="http://schemas.microsoft.com/office/drawing/2014/main" id="{2122439D-C182-894A-B2EC-68F50E8BC9D0}"/>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
        <p:nvSpPr>
          <p:cNvPr id="12" name="Marcador de texto 2">
            <a:extLst>
              <a:ext uri="{FF2B5EF4-FFF2-40B4-BE49-F238E27FC236}">
                <a16:creationId xmlns:a16="http://schemas.microsoft.com/office/drawing/2014/main" id="{C06AF79A-03C8-F002-588F-4A5764D75628}"/>
              </a:ext>
            </a:extLst>
          </p:cNvPr>
          <p:cNvSpPr>
            <a:spLocks noGrp="1"/>
          </p:cNvSpPr>
          <p:nvPr>
            <p:ph type="body" sz="quarter" idx="28" hasCustomPrompt="1"/>
          </p:nvPr>
        </p:nvSpPr>
        <p:spPr>
          <a:xfrm>
            <a:off x="555307" y="974785"/>
            <a:ext cx="11150600"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532075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5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8435975" cy="45282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74E38E8D-26C3-7BF9-8B2A-3C8121FF61D0}"/>
              </a:ext>
            </a:extLst>
          </p:cNvPr>
          <p:cNvSpPr/>
          <p:nvPr userDrawn="1"/>
        </p:nvSpPr>
        <p:spPr>
          <a:xfrm>
            <a:off x="9182100" y="974785"/>
            <a:ext cx="3009900" cy="523551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74A8B940-649A-3B02-65B0-99FCCC529CD2}"/>
              </a:ext>
            </a:extLst>
          </p:cNvPr>
          <p:cNvSpPr>
            <a:spLocks noGrp="1"/>
          </p:cNvSpPr>
          <p:nvPr>
            <p:ph type="body" sz="quarter" idx="26"/>
          </p:nvPr>
        </p:nvSpPr>
        <p:spPr>
          <a:xfrm>
            <a:off x="9391650" y="1138687"/>
            <a:ext cx="2628900" cy="4947789"/>
          </a:xfrm>
          <a:prstGeom prst="rect">
            <a:avLst/>
          </a:prstGeom>
        </p:spPr>
        <p:txBody>
          <a:bodyPr/>
          <a:lstStyle>
            <a:lvl1pPr>
              <a:defRPr sz="1600">
                <a:solidFill>
                  <a:sysClr val="windowText" lastClr="000000"/>
                </a:solidFill>
                <a:latin typeface="+mn-lt"/>
              </a:defRPr>
            </a:lvl1pPr>
            <a:lvl2pPr>
              <a:defRPr sz="1400">
                <a:solidFill>
                  <a:sysClr val="windowText" lastClr="000000"/>
                </a:solidFill>
                <a:latin typeface="+mn-lt"/>
              </a:defRPr>
            </a:lvl2pPr>
            <a:lvl3pPr>
              <a:defRPr sz="1200">
                <a:solidFill>
                  <a:sysClr val="windowText" lastClr="000000"/>
                </a:solidFill>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4" name="Marcador de texto 12">
            <a:extLst>
              <a:ext uri="{FF2B5EF4-FFF2-40B4-BE49-F238E27FC236}">
                <a16:creationId xmlns:a16="http://schemas.microsoft.com/office/drawing/2014/main" id="{22D24435-7F38-5A72-8C85-AD0C9A359691}"/>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
        <p:nvSpPr>
          <p:cNvPr id="15" name="Marcador de texto 2">
            <a:extLst>
              <a:ext uri="{FF2B5EF4-FFF2-40B4-BE49-F238E27FC236}">
                <a16:creationId xmlns:a16="http://schemas.microsoft.com/office/drawing/2014/main" id="{C127F20B-626E-F605-BD60-7118AF31A3BA}"/>
              </a:ext>
            </a:extLst>
          </p:cNvPr>
          <p:cNvSpPr>
            <a:spLocks noGrp="1"/>
          </p:cNvSpPr>
          <p:nvPr>
            <p:ph type="body" sz="quarter" idx="28" hasCustomPrompt="1"/>
          </p:nvPr>
        </p:nvSpPr>
        <p:spPr>
          <a:xfrm>
            <a:off x="555307" y="974785"/>
            <a:ext cx="843597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8461755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6_Text emphasi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3D2715A0-1CE1-837C-3ED0-F917F704884A}"/>
              </a:ext>
            </a:extLst>
          </p:cNvPr>
          <p:cNvSpPr>
            <a:spLocks noGrp="1"/>
          </p:cNvSpPr>
          <p:nvPr>
            <p:ph type="body" sz="quarter" idx="25"/>
          </p:nvPr>
        </p:nvSpPr>
        <p:spPr>
          <a:xfrm>
            <a:off x="555625" y="1558184"/>
            <a:ext cx="11150600" cy="2966192"/>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Rectángulo 2">
            <a:extLst>
              <a:ext uri="{FF2B5EF4-FFF2-40B4-BE49-F238E27FC236}">
                <a16:creationId xmlns:a16="http://schemas.microsoft.com/office/drawing/2014/main" id="{F8D19AC3-0C2B-E3F1-C084-50C7FED3FFFA}"/>
              </a:ext>
            </a:extLst>
          </p:cNvPr>
          <p:cNvSpPr/>
          <p:nvPr userDrawn="1"/>
        </p:nvSpPr>
        <p:spPr>
          <a:xfrm>
            <a:off x="0" y="4698889"/>
            <a:ext cx="12192000" cy="1511411"/>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 name="Marcador de texto 4">
            <a:extLst>
              <a:ext uri="{FF2B5EF4-FFF2-40B4-BE49-F238E27FC236}">
                <a16:creationId xmlns:a16="http://schemas.microsoft.com/office/drawing/2014/main" id="{36D4DF99-69C0-94C2-FC6F-D0CB9C1F0D6A}"/>
              </a:ext>
            </a:extLst>
          </p:cNvPr>
          <p:cNvSpPr>
            <a:spLocks noGrp="1"/>
          </p:cNvSpPr>
          <p:nvPr>
            <p:ph type="body" sz="quarter" idx="26"/>
          </p:nvPr>
        </p:nvSpPr>
        <p:spPr>
          <a:xfrm>
            <a:off x="555625" y="4856163"/>
            <a:ext cx="11150600" cy="1163638"/>
          </a:xfrm>
          <a:prstGeom prst="rect">
            <a:avLst/>
          </a:prstGeom>
        </p:spPr>
        <p:txBody>
          <a:bodyPr/>
          <a:lstStyle>
            <a:lvl1pPr marL="0" indent="0">
              <a:buNone/>
              <a:defRPr sz="1600">
                <a:solidFill>
                  <a:sysClr val="windowText" lastClr="000000"/>
                </a:solidFill>
                <a:latin typeface="+mn-lt"/>
              </a:defRPr>
            </a:lvl1pPr>
            <a:lvl2pPr marL="457200" indent="0">
              <a:buNone/>
              <a:defRPr sz="1400">
                <a:latin typeface="+mn-lt"/>
              </a:defRPr>
            </a:lvl2pPr>
            <a:lvl3pPr marL="914400" indent="0">
              <a:buNone/>
              <a:defRPr sz="1200">
                <a:latin typeface="+mn-lt"/>
              </a:defRPr>
            </a:lvl3pPr>
            <a:lvl4pPr>
              <a:defRPr>
                <a:latin typeface="+mn-lt"/>
              </a:defRPr>
            </a:lvl4pPr>
            <a:lvl5pPr>
              <a:defRPr>
                <a:latin typeface="+mn-lt"/>
              </a:defRPr>
            </a:lvl5pPr>
          </a:lstStyle>
          <a:p>
            <a:pPr lvl="0"/>
            <a:r>
              <a:rPr lang="es-ES"/>
              <a:t>Haga clic para modificar los estilos de texto del patrón</a:t>
            </a:r>
          </a:p>
        </p:txBody>
      </p:sp>
      <p:sp>
        <p:nvSpPr>
          <p:cNvPr id="11" name="Marcador de texto 12">
            <a:extLst>
              <a:ext uri="{FF2B5EF4-FFF2-40B4-BE49-F238E27FC236}">
                <a16:creationId xmlns:a16="http://schemas.microsoft.com/office/drawing/2014/main" id="{2122439D-C182-894A-B2EC-68F50E8BC9D0}"/>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
        <p:nvSpPr>
          <p:cNvPr id="12" name="Marcador de texto 2">
            <a:extLst>
              <a:ext uri="{FF2B5EF4-FFF2-40B4-BE49-F238E27FC236}">
                <a16:creationId xmlns:a16="http://schemas.microsoft.com/office/drawing/2014/main" id="{C06AF79A-03C8-F002-588F-4A5764D75628}"/>
              </a:ext>
            </a:extLst>
          </p:cNvPr>
          <p:cNvSpPr>
            <a:spLocks noGrp="1"/>
          </p:cNvSpPr>
          <p:nvPr>
            <p:ph type="body" sz="quarter" idx="28" hasCustomPrompt="1"/>
          </p:nvPr>
        </p:nvSpPr>
        <p:spPr>
          <a:xfrm>
            <a:off x="555307" y="974785"/>
            <a:ext cx="11150600"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Tree>
    <p:extLst>
      <p:ext uri="{BB962C8B-B14F-4D97-AF65-F5344CB8AC3E}">
        <p14:creationId xmlns:p14="http://schemas.microsoft.com/office/powerpoint/2010/main" val="20516361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1_Text Blac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4984955" y="0"/>
            <a:ext cx="720704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3" name="Marcador de texto 16">
            <a:extLst>
              <a:ext uri="{FF2B5EF4-FFF2-40B4-BE49-F238E27FC236}">
                <a16:creationId xmlns:a16="http://schemas.microsoft.com/office/drawing/2014/main" id="{419EBCED-DD09-F1A2-2386-E3C417AB4652}"/>
              </a:ext>
            </a:extLst>
          </p:cNvPr>
          <p:cNvSpPr>
            <a:spLocks noGrp="1"/>
          </p:cNvSpPr>
          <p:nvPr>
            <p:ph type="body" sz="quarter" idx="17"/>
          </p:nvPr>
        </p:nvSpPr>
        <p:spPr>
          <a:xfrm>
            <a:off x="5687454" y="339982"/>
            <a:ext cx="6018991" cy="5709836"/>
          </a:xfrm>
          <a:prstGeom prst="rect">
            <a:avLst/>
          </a:prstGeom>
        </p:spPr>
        <p:txBody>
          <a:bodyPr/>
          <a:lstStyle>
            <a:lvl1pPr>
              <a:defRPr sz="16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038594"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4" name="Marcador de texto 4">
            <a:extLst>
              <a:ext uri="{FF2B5EF4-FFF2-40B4-BE49-F238E27FC236}">
                <a16:creationId xmlns:a16="http://schemas.microsoft.com/office/drawing/2014/main" id="{9CEB46CE-7410-B5C8-F153-CE1B8FBFDB62}"/>
              </a:ext>
            </a:extLst>
          </p:cNvPr>
          <p:cNvSpPr>
            <a:spLocks noGrp="1"/>
          </p:cNvSpPr>
          <p:nvPr>
            <p:ph type="body" sz="quarter" idx="25"/>
          </p:nvPr>
        </p:nvSpPr>
        <p:spPr>
          <a:xfrm>
            <a:off x="555625" y="1558184"/>
            <a:ext cx="403827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0941236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1_Tex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4984955" y="0"/>
            <a:ext cx="7207045"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038594"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ADF3DA9-695C-09E2-DD93-1D5245FD1B15}"/>
              </a:ext>
            </a:extLst>
          </p:cNvPr>
          <p:cNvSpPr>
            <a:spLocks noGrp="1"/>
          </p:cNvSpPr>
          <p:nvPr>
            <p:ph type="body" sz="quarter" idx="17"/>
          </p:nvPr>
        </p:nvSpPr>
        <p:spPr>
          <a:xfrm>
            <a:off x="5687454" y="339982"/>
            <a:ext cx="6018991" cy="5709836"/>
          </a:xfrm>
          <a:prstGeom prst="rect">
            <a:avLst/>
          </a:prstGeom>
        </p:spPr>
        <p:txBody>
          <a:bodyPr/>
          <a:lstStyle>
            <a:lvl1pPr>
              <a:defRPr sz="16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9959D5E8-AA88-17B3-E2E1-9804F82B6FAD}"/>
              </a:ext>
            </a:extLst>
          </p:cNvPr>
          <p:cNvSpPr>
            <a:spLocks noGrp="1"/>
          </p:cNvSpPr>
          <p:nvPr>
            <p:ph type="body" sz="quarter" idx="25"/>
          </p:nvPr>
        </p:nvSpPr>
        <p:spPr>
          <a:xfrm>
            <a:off x="555625" y="1558184"/>
            <a:ext cx="403827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164208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2_Tex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6096000"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5188268"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78D5212-EFFB-F455-1A54-F90ECE50596B}"/>
              </a:ext>
            </a:extLst>
          </p:cNvPr>
          <p:cNvSpPr>
            <a:spLocks noGrp="1"/>
          </p:cNvSpPr>
          <p:nvPr>
            <p:ph type="body" sz="quarter" idx="17"/>
          </p:nvPr>
        </p:nvSpPr>
        <p:spPr>
          <a:xfrm>
            <a:off x="6496050" y="339982"/>
            <a:ext cx="5210395" cy="5709836"/>
          </a:xfrm>
          <a:prstGeom prst="rect">
            <a:avLst/>
          </a:prstGeom>
        </p:spPr>
        <p:txBody>
          <a:bodyPr/>
          <a:lstStyle>
            <a:lvl1pPr>
              <a:defRPr sz="16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10537B0D-EECB-185E-8581-3BC29A65E275}"/>
              </a:ext>
            </a:extLst>
          </p:cNvPr>
          <p:cNvSpPr>
            <a:spLocks noGrp="1"/>
          </p:cNvSpPr>
          <p:nvPr>
            <p:ph type="body" sz="quarter" idx="25"/>
          </p:nvPr>
        </p:nvSpPr>
        <p:spPr>
          <a:xfrm>
            <a:off x="555625" y="1558184"/>
            <a:ext cx="5187950"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3516735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3_Tex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8277224" y="0"/>
            <a:ext cx="3914775"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4" name="Marcador de texto 16">
            <a:extLst>
              <a:ext uri="{FF2B5EF4-FFF2-40B4-BE49-F238E27FC236}">
                <a16:creationId xmlns:a16="http://schemas.microsoft.com/office/drawing/2014/main" id="{F19BAED2-4971-DECF-2B12-F4AEFEB17DDE}"/>
              </a:ext>
            </a:extLst>
          </p:cNvPr>
          <p:cNvSpPr>
            <a:spLocks noGrp="1"/>
          </p:cNvSpPr>
          <p:nvPr>
            <p:ph type="body" sz="quarter" idx="17"/>
          </p:nvPr>
        </p:nvSpPr>
        <p:spPr>
          <a:xfrm>
            <a:off x="8605477" y="339982"/>
            <a:ext cx="3100968" cy="5709836"/>
          </a:xfrm>
          <a:prstGeom prst="rect">
            <a:avLst/>
          </a:prstGeom>
        </p:spPr>
        <p:txBody>
          <a:bodyPr/>
          <a:lstStyle>
            <a:lvl1pPr>
              <a:defRPr sz="16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2">
            <a:extLst>
              <a:ext uri="{FF2B5EF4-FFF2-40B4-BE49-F238E27FC236}">
                <a16:creationId xmlns:a16="http://schemas.microsoft.com/office/drawing/2014/main" id="{3662AEBC-494B-A651-8F87-0E668F2C6F7E}"/>
              </a:ext>
            </a:extLst>
          </p:cNvPr>
          <p:cNvSpPr>
            <a:spLocks noGrp="1"/>
          </p:cNvSpPr>
          <p:nvPr>
            <p:ph type="body" sz="quarter" idx="28" hasCustomPrompt="1"/>
          </p:nvPr>
        </p:nvSpPr>
        <p:spPr>
          <a:xfrm>
            <a:off x="555307" y="974785"/>
            <a:ext cx="757872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
        <p:nvSpPr>
          <p:cNvPr id="11" name="Marcador de texto 12">
            <a:extLst>
              <a:ext uri="{FF2B5EF4-FFF2-40B4-BE49-F238E27FC236}">
                <a16:creationId xmlns:a16="http://schemas.microsoft.com/office/drawing/2014/main" id="{28CB1593-DEE3-0575-9850-F9BD11869134}"/>
              </a:ext>
            </a:extLst>
          </p:cNvPr>
          <p:cNvSpPr>
            <a:spLocks noGrp="1"/>
          </p:cNvSpPr>
          <p:nvPr>
            <p:ph type="body" sz="quarter" idx="27" hasCustomPrompt="1"/>
          </p:nvPr>
        </p:nvSpPr>
        <p:spPr>
          <a:xfrm>
            <a:off x="555308" y="339982"/>
            <a:ext cx="7564616" cy="454471"/>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12" name="Marcador de texto 4">
            <a:extLst>
              <a:ext uri="{FF2B5EF4-FFF2-40B4-BE49-F238E27FC236}">
                <a16:creationId xmlns:a16="http://schemas.microsoft.com/office/drawing/2014/main" id="{18E06D24-4E2E-F2A1-B28D-EC8259453DB7}"/>
              </a:ext>
            </a:extLst>
          </p:cNvPr>
          <p:cNvSpPr>
            <a:spLocks noGrp="1"/>
          </p:cNvSpPr>
          <p:nvPr>
            <p:ph type="body" sz="quarter" idx="25"/>
          </p:nvPr>
        </p:nvSpPr>
        <p:spPr>
          <a:xfrm>
            <a:off x="555625" y="1558184"/>
            <a:ext cx="757840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7748553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1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4984955" y="0"/>
            <a:ext cx="720704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038594"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ADF3DA9-695C-09E2-DD93-1D5245FD1B15}"/>
              </a:ext>
            </a:extLst>
          </p:cNvPr>
          <p:cNvSpPr>
            <a:spLocks noGrp="1"/>
          </p:cNvSpPr>
          <p:nvPr>
            <p:ph type="body" sz="quarter" idx="17"/>
          </p:nvPr>
        </p:nvSpPr>
        <p:spPr>
          <a:xfrm>
            <a:off x="5687454" y="339982"/>
            <a:ext cx="6018991"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3787E3A8-4E3C-22A4-9366-B9BEFE7DB323}"/>
              </a:ext>
            </a:extLst>
          </p:cNvPr>
          <p:cNvSpPr>
            <a:spLocks noGrp="1"/>
          </p:cNvSpPr>
          <p:nvPr>
            <p:ph type="body" sz="quarter" idx="25"/>
          </p:nvPr>
        </p:nvSpPr>
        <p:spPr>
          <a:xfrm>
            <a:off x="555625" y="1558184"/>
            <a:ext cx="403827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712465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ver Blue 1">
    <p:bg>
      <p:bgPr>
        <a:solidFill>
          <a:srgbClr val="0042ED"/>
        </a:solidFill>
        <a:effectLst/>
      </p:bgPr>
    </p:bg>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1" y="2921282"/>
            <a:ext cx="3301907" cy="999565"/>
          </a:xfrm>
          <a:prstGeom prst="rect">
            <a:avLst/>
          </a:prstGeom>
        </p:spPr>
        <p:txBody>
          <a:bodyPr anchor="ctr"/>
          <a:lstStyle>
            <a:lvl1pPr>
              <a:defRPr sz="3600" b="1" i="0">
                <a:solidFill>
                  <a:schemeClr val="bg1"/>
                </a:solidFill>
                <a:latin typeface="Arial Narrow" panose="020B0604020202020204" pitchFamily="34" charset="0"/>
              </a:defRPr>
            </a:lvl1pPr>
          </a:lstStyle>
          <a:p>
            <a:r>
              <a:rPr lang="es-ES"/>
              <a:t>TITLE OF THE PRESENTATION</a:t>
            </a:r>
          </a:p>
        </p:txBody>
      </p:sp>
      <p:sp>
        <p:nvSpPr>
          <p:cNvPr id="9" name="Marcador de texto 3">
            <a:extLst>
              <a:ext uri="{FF2B5EF4-FFF2-40B4-BE49-F238E27FC236}">
                <a16:creationId xmlns:a16="http://schemas.microsoft.com/office/drawing/2014/main" id="{A693E489-2CF1-15CA-1564-812DB4F5958B}"/>
              </a:ext>
            </a:extLst>
          </p:cNvPr>
          <p:cNvSpPr>
            <a:spLocks noGrp="1"/>
          </p:cNvSpPr>
          <p:nvPr>
            <p:ph type="body" sz="half" idx="2" hasCustomPrompt="1"/>
          </p:nvPr>
        </p:nvSpPr>
        <p:spPr>
          <a:xfrm>
            <a:off x="535611" y="3920847"/>
            <a:ext cx="3301907" cy="696756"/>
          </a:xfrm>
          <a:prstGeom prst="rect">
            <a:avLst/>
          </a:prstGeom>
        </p:spPr>
        <p:txBody>
          <a:bodyPr/>
          <a:lstStyle>
            <a:lvl1pPr marL="0" indent="0">
              <a:buNone/>
              <a:defRPr sz="2000" b="0" i="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Subtitle</a:t>
            </a:r>
          </a:p>
        </p:txBody>
      </p:sp>
      <p:sp>
        <p:nvSpPr>
          <p:cNvPr id="4" name="Marcador de posición de imagen 2">
            <a:extLst>
              <a:ext uri="{FF2B5EF4-FFF2-40B4-BE49-F238E27FC236}">
                <a16:creationId xmlns:a16="http://schemas.microsoft.com/office/drawing/2014/main" id="{C1AC71DB-90C7-AEDF-FAB4-EBA8EB91AA98}"/>
              </a:ext>
            </a:extLst>
          </p:cNvPr>
          <p:cNvSpPr>
            <a:spLocks noGrp="1"/>
          </p:cNvSpPr>
          <p:nvPr>
            <p:ph type="pic" idx="1"/>
          </p:nvPr>
        </p:nvSpPr>
        <p:spPr>
          <a:xfrm>
            <a:off x="4613564" y="0"/>
            <a:ext cx="7578436" cy="6857999"/>
          </a:xfrm>
          <a:prstGeom prst="rect">
            <a:avLst/>
          </a:prstGeom>
        </p:spPr>
        <p:txBody>
          <a:bodyPr/>
          <a:lstStyle>
            <a:lvl1pPr marL="0" indent="0">
              <a:buNone/>
              <a:defRPr sz="3200" b="0" i="0">
                <a:solidFill>
                  <a:schemeClr val="bg1"/>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pic>
        <p:nvPicPr>
          <p:cNvPr id="7" name="Imagen 6">
            <a:extLst>
              <a:ext uri="{FF2B5EF4-FFF2-40B4-BE49-F238E27FC236}">
                <a16:creationId xmlns:a16="http://schemas.microsoft.com/office/drawing/2014/main" id="{40312104-7003-AED0-8DE8-200D8637770A}"/>
              </a:ext>
            </a:extLst>
          </p:cNvPr>
          <p:cNvPicPr/>
          <p:nvPr userDrawn="1"/>
        </p:nvPicPr>
        <p:blipFill>
          <a:blip r:embed="rId2"/>
          <a:stretch>
            <a:fillRect/>
          </a:stretch>
        </p:blipFill>
        <p:spPr>
          <a:xfrm>
            <a:off x="654049" y="472962"/>
            <a:ext cx="1341701" cy="592440"/>
          </a:xfrm>
          <a:prstGeom prst="rect">
            <a:avLst/>
          </a:prstGeom>
        </p:spPr>
      </p:pic>
      <p:sp>
        <p:nvSpPr>
          <p:cNvPr id="10" name="CuadroTexto 9">
            <a:extLst>
              <a:ext uri="{FF2B5EF4-FFF2-40B4-BE49-F238E27FC236}">
                <a16:creationId xmlns:a16="http://schemas.microsoft.com/office/drawing/2014/main" id="{3213E486-EF19-1D31-6971-4DE69A62B9A6}"/>
              </a:ext>
            </a:extLst>
          </p:cNvPr>
          <p:cNvSpPr txBox="1"/>
          <p:nvPr userDrawn="1"/>
        </p:nvSpPr>
        <p:spPr>
          <a:xfrm>
            <a:off x="535612" y="5247714"/>
            <a:ext cx="3722352" cy="1400383"/>
          </a:xfrm>
          <a:prstGeom prst="rect">
            <a:avLst/>
          </a:prstGeom>
          <a:noFill/>
        </p:spPr>
        <p:txBody>
          <a:bodyPr wrap="square" rtlCol="0">
            <a:spAutoFit/>
          </a:bodyPr>
          <a:lstStyle/>
          <a:p>
            <a:pPr eaLnBrk="0" hangingPunct="0">
              <a:spcAft>
                <a:spcPts val="600"/>
              </a:spcAft>
              <a:tabLst>
                <a:tab pos="2400300" algn="l"/>
              </a:tabLst>
            </a:pP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RIETARY AND CONFIDENTIAL </a:t>
            </a:r>
          </a:p>
          <a:p>
            <a:pPr eaLnBrk="0" hangingPunct="0">
              <a:spcAft>
                <a:spcPts val="0"/>
              </a:spcAft>
              <a:tabLst>
                <a:tab pos="2400300" algn="l"/>
              </a:tabLst>
            </a:pP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Industria de Turbo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S.A.U (ITP Aero) and/or its affiliates 2025. All rights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reserved.Thi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Presentation is provided to the recipient for informational purposes. No representations or warranties are made by ITP Aero or its direct and indirect equity holders and their respective affiliates as to the accuracy of the information contained herein and any guidance and/or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jections.The</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information in this document shall not be used for any purpose other than that for which it is supplied, nor disclosed without the express previous written consent of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Industria</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de Turbo </a:t>
            </a:r>
            <a:r>
              <a:rPr lang="en-US" sz="800" b="0" i="0" err="1">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bg1"/>
                </a:solidFill>
                <a:latin typeface="Arial" panose="020B0604020202020204" pitchFamily="34" charset="0"/>
                <a:ea typeface="Arial" charset="0"/>
                <a:cs typeface="Arial" panose="020B0604020202020204" pitchFamily="34" charset="0"/>
                <a:sym typeface="Century Gothic" panose="020B0502020202020204" pitchFamily="34" charset="0"/>
              </a:rPr>
              <a:t> S.A.U. and/or its affiliates.</a:t>
            </a:r>
          </a:p>
        </p:txBody>
      </p:sp>
    </p:spTree>
    <p:extLst>
      <p:ext uri="{BB962C8B-B14F-4D97-AF65-F5344CB8AC3E}">
        <p14:creationId xmlns:p14="http://schemas.microsoft.com/office/powerpoint/2010/main" val="1898192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2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6096000" y="0"/>
            <a:ext cx="6096000"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5188268"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78D5212-EFFB-F455-1A54-F90ECE50596B}"/>
              </a:ext>
            </a:extLst>
          </p:cNvPr>
          <p:cNvSpPr>
            <a:spLocks noGrp="1"/>
          </p:cNvSpPr>
          <p:nvPr>
            <p:ph type="body" sz="quarter" idx="17"/>
          </p:nvPr>
        </p:nvSpPr>
        <p:spPr>
          <a:xfrm>
            <a:off x="6496050" y="339982"/>
            <a:ext cx="5210395"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892928D3-1F28-C7AA-4309-D144B677071E}"/>
              </a:ext>
            </a:extLst>
          </p:cNvPr>
          <p:cNvSpPr>
            <a:spLocks noGrp="1"/>
          </p:cNvSpPr>
          <p:nvPr>
            <p:ph type="body" sz="quarter" idx="25"/>
          </p:nvPr>
        </p:nvSpPr>
        <p:spPr>
          <a:xfrm>
            <a:off x="555625" y="1558184"/>
            <a:ext cx="5187950"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2995230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3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8277224" y="0"/>
            <a:ext cx="3914775" cy="6858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4" name="Marcador de texto 16">
            <a:extLst>
              <a:ext uri="{FF2B5EF4-FFF2-40B4-BE49-F238E27FC236}">
                <a16:creationId xmlns:a16="http://schemas.microsoft.com/office/drawing/2014/main" id="{F19BAED2-4971-DECF-2B12-F4AEFEB17DDE}"/>
              </a:ext>
            </a:extLst>
          </p:cNvPr>
          <p:cNvSpPr>
            <a:spLocks noGrp="1"/>
          </p:cNvSpPr>
          <p:nvPr>
            <p:ph type="body" sz="quarter" idx="17"/>
          </p:nvPr>
        </p:nvSpPr>
        <p:spPr>
          <a:xfrm>
            <a:off x="8605477" y="339982"/>
            <a:ext cx="3100968"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AB49E4DE-6CC1-C662-1C08-7BEB6D8252B2}"/>
              </a:ext>
            </a:extLst>
          </p:cNvPr>
          <p:cNvSpPr>
            <a:spLocks noGrp="1"/>
          </p:cNvSpPr>
          <p:nvPr>
            <p:ph type="body" sz="quarter" idx="25"/>
          </p:nvPr>
        </p:nvSpPr>
        <p:spPr>
          <a:xfrm>
            <a:off x="555625" y="1558184"/>
            <a:ext cx="7564298"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1" name="Marcador de texto 2">
            <a:extLst>
              <a:ext uri="{FF2B5EF4-FFF2-40B4-BE49-F238E27FC236}">
                <a16:creationId xmlns:a16="http://schemas.microsoft.com/office/drawing/2014/main" id="{F9B2D6FE-2891-DB99-E4CA-6C655B5EDDCA}"/>
              </a:ext>
            </a:extLst>
          </p:cNvPr>
          <p:cNvSpPr>
            <a:spLocks noGrp="1"/>
          </p:cNvSpPr>
          <p:nvPr>
            <p:ph type="body" sz="quarter" idx="28" hasCustomPrompt="1"/>
          </p:nvPr>
        </p:nvSpPr>
        <p:spPr>
          <a:xfrm>
            <a:off x="555307" y="974785"/>
            <a:ext cx="757872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
        <p:nvSpPr>
          <p:cNvPr id="12" name="Marcador de texto 12">
            <a:extLst>
              <a:ext uri="{FF2B5EF4-FFF2-40B4-BE49-F238E27FC236}">
                <a16:creationId xmlns:a16="http://schemas.microsoft.com/office/drawing/2014/main" id="{EB429E98-2879-C171-0C9C-1AB6DBE8A86A}"/>
              </a:ext>
            </a:extLst>
          </p:cNvPr>
          <p:cNvSpPr>
            <a:spLocks noGrp="1"/>
          </p:cNvSpPr>
          <p:nvPr>
            <p:ph type="body" sz="quarter" idx="27" hasCustomPrompt="1"/>
          </p:nvPr>
        </p:nvSpPr>
        <p:spPr>
          <a:xfrm>
            <a:off x="555308" y="339982"/>
            <a:ext cx="7564616"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819351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4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4984955" y="0"/>
            <a:ext cx="720704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038594"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ADF3DA9-695C-09E2-DD93-1D5245FD1B15}"/>
              </a:ext>
            </a:extLst>
          </p:cNvPr>
          <p:cNvSpPr>
            <a:spLocks noGrp="1"/>
          </p:cNvSpPr>
          <p:nvPr>
            <p:ph type="body" sz="quarter" idx="17"/>
          </p:nvPr>
        </p:nvSpPr>
        <p:spPr>
          <a:xfrm>
            <a:off x="5687454" y="339982"/>
            <a:ext cx="6018991"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3787E3A8-4E3C-22A4-9366-B9BEFE7DB323}"/>
              </a:ext>
            </a:extLst>
          </p:cNvPr>
          <p:cNvSpPr>
            <a:spLocks noGrp="1"/>
          </p:cNvSpPr>
          <p:nvPr>
            <p:ph type="body" sz="quarter" idx="25"/>
          </p:nvPr>
        </p:nvSpPr>
        <p:spPr>
          <a:xfrm>
            <a:off x="555625" y="1558184"/>
            <a:ext cx="403827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092192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5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6096000" y="0"/>
            <a:ext cx="6096000"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5188268"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4" name="Marcador de texto 16">
            <a:extLst>
              <a:ext uri="{FF2B5EF4-FFF2-40B4-BE49-F238E27FC236}">
                <a16:creationId xmlns:a16="http://schemas.microsoft.com/office/drawing/2014/main" id="{678D5212-EFFB-F455-1A54-F90ECE50596B}"/>
              </a:ext>
            </a:extLst>
          </p:cNvPr>
          <p:cNvSpPr>
            <a:spLocks noGrp="1"/>
          </p:cNvSpPr>
          <p:nvPr>
            <p:ph type="body" sz="quarter" idx="17"/>
          </p:nvPr>
        </p:nvSpPr>
        <p:spPr>
          <a:xfrm>
            <a:off x="6496050" y="339982"/>
            <a:ext cx="5210395"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892928D3-1F28-C7AA-4309-D144B677071E}"/>
              </a:ext>
            </a:extLst>
          </p:cNvPr>
          <p:cNvSpPr>
            <a:spLocks noGrp="1"/>
          </p:cNvSpPr>
          <p:nvPr>
            <p:ph type="body" sz="quarter" idx="25"/>
          </p:nvPr>
        </p:nvSpPr>
        <p:spPr>
          <a:xfrm>
            <a:off x="555625" y="1558184"/>
            <a:ext cx="5187950"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3405926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6_Text light blu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6E4F84-5872-0CF6-8798-F5D2100A4B01}"/>
              </a:ext>
            </a:extLst>
          </p:cNvPr>
          <p:cNvGraphicFramePr>
            <a:graphicFrameLocks noChangeAspect="1"/>
          </p:cNvGraphicFramePr>
          <p:nvPr userDrawn="1">
            <p:custDataLst>
              <p:tags r:id="rId2"/>
            </p:custDataLst>
            <p:extLst>
              <p:ext uri="{D42A27DB-BD31-4B8C-83A1-F6EECF244321}">
                <p14:modId xmlns:p14="http://schemas.microsoft.com/office/powerpoint/2010/main" val="1225726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Diapositiva de think-cell" r:id="rId4" imgW="411" imgH="411" progId="TCLayout.ActiveDocument.1">
                  <p:embed/>
                </p:oleObj>
              </mc:Choice>
              <mc:Fallback>
                <p:oleObj name="Diapositiva de think-cell" r:id="rId4" imgW="411" imgH="411" progId="TCLayout.ActiveDocument.1">
                  <p:embed/>
                  <p:pic>
                    <p:nvPicPr>
                      <p:cNvPr id="8" name="think-cell data - do not delete" hidden="1">
                        <a:extLst>
                          <a:ext uri="{FF2B5EF4-FFF2-40B4-BE49-F238E27FC236}">
                            <a16:creationId xmlns:a16="http://schemas.microsoft.com/office/drawing/2014/main" id="{F56E4F84-5872-0CF6-8798-F5D2100A4B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id="{C114EC5B-2EEC-2F5A-DA45-585989C9831A}"/>
              </a:ext>
            </a:extLst>
          </p:cNvPr>
          <p:cNvSpPr/>
          <p:nvPr userDrawn="1"/>
        </p:nvSpPr>
        <p:spPr>
          <a:xfrm>
            <a:off x="8277224" y="0"/>
            <a:ext cx="3914775"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2"/>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2"/>
                </a:solidFill>
              </a:defRPr>
            </a:lvl1pPr>
          </a:lstStyle>
          <a:p>
            <a:fld id="{FF2CED2D-DE01-CB40-AEF5-C9DD7CD06225}" type="slidenum">
              <a:rPr lang="es-ES" smtClean="0"/>
              <a:pPr/>
              <a:t>‹Nº›</a:t>
            </a:fld>
            <a:endParaRPr lang="es-ES"/>
          </a:p>
        </p:txBody>
      </p:sp>
      <p:sp>
        <p:nvSpPr>
          <p:cNvPr id="9" name="Marcador de número de diapositiva 5">
            <a:extLst>
              <a:ext uri="{FF2B5EF4-FFF2-40B4-BE49-F238E27FC236}">
                <a16:creationId xmlns:a16="http://schemas.microsoft.com/office/drawing/2014/main" id="{569B5B9B-376F-C705-5B0F-9F2F46AF0001}"/>
              </a:ext>
            </a:extLst>
          </p:cNvPr>
          <p:cNvSpPr txBox="1">
            <a:spLocks/>
          </p:cNvSpPr>
          <p:nvPr userDrawn="1"/>
        </p:nvSpPr>
        <p:spPr>
          <a:xfrm>
            <a:off x="10986887" y="6508750"/>
            <a:ext cx="980356" cy="365125"/>
          </a:xfrm>
          <a:prstGeom prst="rect">
            <a:avLst/>
          </a:prstGeom>
        </p:spPr>
        <p:txBody>
          <a:bodyPr vert="horz" lIns="91440" tIns="45720" rIns="91440" bIns="45720" rtlCol="0" anchor="ctr"/>
          <a:lstStyle>
            <a:defPPr>
              <a:defRPr lang="es-ES"/>
            </a:defPPr>
            <a:lvl1pPr marL="0" algn="r"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4" name="Marcador de texto 16">
            <a:extLst>
              <a:ext uri="{FF2B5EF4-FFF2-40B4-BE49-F238E27FC236}">
                <a16:creationId xmlns:a16="http://schemas.microsoft.com/office/drawing/2014/main" id="{F19BAED2-4971-DECF-2B12-F4AEFEB17DDE}"/>
              </a:ext>
            </a:extLst>
          </p:cNvPr>
          <p:cNvSpPr>
            <a:spLocks noGrp="1"/>
          </p:cNvSpPr>
          <p:nvPr>
            <p:ph type="body" sz="quarter" idx="17"/>
          </p:nvPr>
        </p:nvSpPr>
        <p:spPr>
          <a:xfrm>
            <a:off x="8605477" y="339982"/>
            <a:ext cx="3100968" cy="5709836"/>
          </a:xfrm>
          <a:prstGeom prst="rect">
            <a:avLst/>
          </a:prstGeom>
        </p:spPr>
        <p:txBody>
          <a:bodyPr/>
          <a:lstStyle>
            <a:lvl1pPr>
              <a:defRPr sz="1600" b="0" i="0">
                <a:solidFill>
                  <a:schemeClr val="tx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sp>
        <p:nvSpPr>
          <p:cNvPr id="3" name="Marcador de texto 4">
            <a:extLst>
              <a:ext uri="{FF2B5EF4-FFF2-40B4-BE49-F238E27FC236}">
                <a16:creationId xmlns:a16="http://schemas.microsoft.com/office/drawing/2014/main" id="{AB49E4DE-6CC1-C662-1C08-7BEB6D8252B2}"/>
              </a:ext>
            </a:extLst>
          </p:cNvPr>
          <p:cNvSpPr>
            <a:spLocks noGrp="1"/>
          </p:cNvSpPr>
          <p:nvPr>
            <p:ph type="body" sz="quarter" idx="25"/>
          </p:nvPr>
        </p:nvSpPr>
        <p:spPr>
          <a:xfrm>
            <a:off x="555625" y="1558184"/>
            <a:ext cx="7564298"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
        <p:nvSpPr>
          <p:cNvPr id="11" name="Marcador de texto 2">
            <a:extLst>
              <a:ext uri="{FF2B5EF4-FFF2-40B4-BE49-F238E27FC236}">
                <a16:creationId xmlns:a16="http://schemas.microsoft.com/office/drawing/2014/main" id="{F9B2D6FE-2891-DB99-E4CA-6C655B5EDDCA}"/>
              </a:ext>
            </a:extLst>
          </p:cNvPr>
          <p:cNvSpPr>
            <a:spLocks noGrp="1"/>
          </p:cNvSpPr>
          <p:nvPr>
            <p:ph type="body" sz="quarter" idx="28" hasCustomPrompt="1"/>
          </p:nvPr>
        </p:nvSpPr>
        <p:spPr>
          <a:xfrm>
            <a:off x="555307" y="974785"/>
            <a:ext cx="7578725" cy="537506"/>
          </a:xfrm>
          <a:prstGeom prst="rect">
            <a:avLst/>
          </a:prstGeom>
        </p:spPr>
        <p:txBody>
          <a:bodyPr/>
          <a:lstStyle>
            <a:lvl1pPr marL="0" indent="0">
              <a:buNone/>
              <a:defRPr sz="1800" b="1">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s-ES"/>
              <a:t>Text</a:t>
            </a:r>
          </a:p>
        </p:txBody>
      </p:sp>
      <p:sp>
        <p:nvSpPr>
          <p:cNvPr id="12" name="Marcador de texto 12">
            <a:extLst>
              <a:ext uri="{FF2B5EF4-FFF2-40B4-BE49-F238E27FC236}">
                <a16:creationId xmlns:a16="http://schemas.microsoft.com/office/drawing/2014/main" id="{EB429E98-2879-C171-0C9C-1AB6DBE8A86A}"/>
              </a:ext>
            </a:extLst>
          </p:cNvPr>
          <p:cNvSpPr>
            <a:spLocks noGrp="1"/>
          </p:cNvSpPr>
          <p:nvPr>
            <p:ph type="body" sz="quarter" idx="27" hasCustomPrompt="1"/>
          </p:nvPr>
        </p:nvSpPr>
        <p:spPr>
          <a:xfrm>
            <a:off x="555308" y="339982"/>
            <a:ext cx="7564616"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2177441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1_Text &amp; pictur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5411585" y="1"/>
            <a:ext cx="6780415" cy="6858000"/>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4500000"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4" name="Marcador de texto 4">
            <a:extLst>
              <a:ext uri="{FF2B5EF4-FFF2-40B4-BE49-F238E27FC236}">
                <a16:creationId xmlns:a16="http://schemas.microsoft.com/office/drawing/2014/main" id="{CE2DDAEF-DC78-8A96-10E3-7588D4D23FDC}"/>
              </a:ext>
            </a:extLst>
          </p:cNvPr>
          <p:cNvSpPr>
            <a:spLocks noGrp="1"/>
          </p:cNvSpPr>
          <p:nvPr>
            <p:ph type="body" sz="quarter" idx="25"/>
          </p:nvPr>
        </p:nvSpPr>
        <p:spPr>
          <a:xfrm>
            <a:off x="555624" y="1558184"/>
            <a:ext cx="4516707" cy="4491634"/>
          </a:xfrm>
          <a:prstGeom prst="rect">
            <a:avLst/>
          </a:prstGeom>
        </p:spPr>
        <p:txBody>
          <a:bodyPr/>
          <a:lstStyle>
            <a:lvl1pPr>
              <a:defRPr sz="1600">
                <a:latin typeface="+mn-lt"/>
              </a:defRPr>
            </a:lvl1pPr>
            <a:lvl2pPr>
              <a:defRPr sz="1400">
                <a:latin typeface="+mn-lt"/>
              </a:defRPr>
            </a:lvl2pPr>
            <a:lvl3pPr>
              <a:defRPr sz="1200">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35347868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2_Text &amp; picture">
    <p:bg>
      <p:bgPr>
        <a:solidFill>
          <a:srgbClr val="0042ED"/>
        </a:solidFill>
        <a:effectLst/>
      </p:bgPr>
    </p:bg>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5411585" y="1"/>
            <a:ext cx="6780415" cy="6858000"/>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4" name="Imagen 1">
            <a:extLst>
              <a:ext uri="{FF2B5EF4-FFF2-40B4-BE49-F238E27FC236}">
                <a16:creationId xmlns:a16="http://schemas.microsoft.com/office/drawing/2014/main" id="{A7E90146-F6B7-FCD3-D1D9-42D8FE0A6ECB}"/>
              </a:ext>
            </a:extLst>
          </p:cNvPr>
          <p:cNvPicPr/>
          <p:nvPr userDrawn="1"/>
        </p:nvPicPr>
        <p:blipFill>
          <a:blip r:embed="rId2"/>
          <a:stretch>
            <a:fillRect/>
          </a:stretch>
        </p:blipFill>
        <p:spPr>
          <a:xfrm>
            <a:off x="653742" y="6320455"/>
            <a:ext cx="663716" cy="293070"/>
          </a:xfrm>
          <a:prstGeom prst="rect">
            <a:avLst/>
          </a:prstGeom>
        </p:spPr>
      </p:pic>
      <p:sp>
        <p:nvSpPr>
          <p:cNvPr id="8"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500000" cy="1179872"/>
          </a:xfrm>
          <a:prstGeom prst="rect">
            <a:avLst/>
          </a:prstGeom>
        </p:spPr>
        <p:txBody>
          <a:bodyPr/>
          <a:lstStyle>
            <a:lvl1pPr marL="0" indent="0">
              <a:buNone/>
              <a:defRPr sz="3200" b="1" i="0">
                <a:solidFill>
                  <a:schemeClr val="bg2"/>
                </a:solidFill>
                <a:latin typeface="Arial Narrow" panose="020B0604020202020204" pitchFamily="34" charset="0"/>
              </a:defRPr>
            </a:lvl1pPr>
          </a:lstStyle>
          <a:p>
            <a:pPr lvl="0"/>
            <a:r>
              <a:rPr lang="es-ES"/>
              <a:t>TITLE ALWAYS IN CAPITAL LETTERS</a:t>
            </a:r>
          </a:p>
        </p:txBody>
      </p:sp>
      <p:sp>
        <p:nvSpPr>
          <p:cNvPr id="5" name="Marcador de texto 4">
            <a:extLst>
              <a:ext uri="{FF2B5EF4-FFF2-40B4-BE49-F238E27FC236}">
                <a16:creationId xmlns:a16="http://schemas.microsoft.com/office/drawing/2014/main" id="{B83FC364-E106-4924-1DEC-9306912CCD0B}"/>
              </a:ext>
            </a:extLst>
          </p:cNvPr>
          <p:cNvSpPr>
            <a:spLocks noGrp="1"/>
          </p:cNvSpPr>
          <p:nvPr>
            <p:ph type="body" sz="quarter" idx="25"/>
          </p:nvPr>
        </p:nvSpPr>
        <p:spPr>
          <a:xfrm>
            <a:off x="555624" y="1558184"/>
            <a:ext cx="4516707" cy="4491634"/>
          </a:xfrm>
          <a:prstGeom prst="rect">
            <a:avLst/>
          </a:prstGeom>
        </p:spPr>
        <p:txBody>
          <a:bodyPr/>
          <a:lstStyle>
            <a:lvl1pPr>
              <a:defRPr sz="1600">
                <a:solidFill>
                  <a:schemeClr val="bg1"/>
                </a:solidFill>
                <a:latin typeface="+mn-lt"/>
              </a:defRPr>
            </a:lvl1pPr>
            <a:lvl2pPr>
              <a:defRPr sz="1400">
                <a:solidFill>
                  <a:schemeClr val="bg1"/>
                </a:solidFill>
                <a:latin typeface="+mn-lt"/>
              </a:defRPr>
            </a:lvl2pPr>
            <a:lvl3pPr>
              <a:defRPr sz="1200">
                <a:solidFill>
                  <a:schemeClr val="bg1"/>
                </a:solidFill>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40134900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3_Text &amp; picture">
    <p:bg>
      <p:bgPr>
        <a:solidFill>
          <a:schemeClr val="tx1"/>
        </a:solidFill>
        <a:effectLst/>
      </p:bgPr>
    </p:bg>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5411585" y="1"/>
            <a:ext cx="6780415" cy="6858000"/>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4" name="Imagen 1">
            <a:extLst>
              <a:ext uri="{FF2B5EF4-FFF2-40B4-BE49-F238E27FC236}">
                <a16:creationId xmlns:a16="http://schemas.microsoft.com/office/drawing/2014/main" id="{A7E90146-F6B7-FCD3-D1D9-42D8FE0A6ECB}"/>
              </a:ext>
            </a:extLst>
          </p:cNvPr>
          <p:cNvPicPr/>
          <p:nvPr userDrawn="1"/>
        </p:nvPicPr>
        <p:blipFill>
          <a:blip r:embed="rId2"/>
          <a:stretch>
            <a:fillRect/>
          </a:stretch>
        </p:blipFill>
        <p:spPr>
          <a:xfrm>
            <a:off x="653742" y="6320455"/>
            <a:ext cx="663716" cy="293070"/>
          </a:xfrm>
          <a:prstGeom prst="rect">
            <a:avLst/>
          </a:prstGeom>
        </p:spPr>
      </p:pic>
      <p:sp>
        <p:nvSpPr>
          <p:cNvPr id="9"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500000" cy="1179872"/>
          </a:xfrm>
          <a:prstGeom prst="rect">
            <a:avLst/>
          </a:prstGeom>
        </p:spPr>
        <p:txBody>
          <a:bodyPr/>
          <a:lstStyle>
            <a:lvl1pPr marL="0" indent="0">
              <a:buNone/>
              <a:defRPr sz="3200" b="1" i="0">
                <a:solidFill>
                  <a:schemeClr val="bg2"/>
                </a:solidFill>
                <a:latin typeface="Arial Narrow" panose="020B0604020202020204" pitchFamily="34" charset="0"/>
              </a:defRPr>
            </a:lvl1pPr>
          </a:lstStyle>
          <a:p>
            <a:pPr lvl="0"/>
            <a:r>
              <a:rPr lang="es-ES"/>
              <a:t>TITLE ALWAYS IN CAPITAL LETTERS</a:t>
            </a:r>
          </a:p>
        </p:txBody>
      </p:sp>
      <p:sp>
        <p:nvSpPr>
          <p:cNvPr id="5" name="Marcador de texto 4">
            <a:extLst>
              <a:ext uri="{FF2B5EF4-FFF2-40B4-BE49-F238E27FC236}">
                <a16:creationId xmlns:a16="http://schemas.microsoft.com/office/drawing/2014/main" id="{3F4CFA84-7459-5A9C-06BE-E73F02BB07E5}"/>
              </a:ext>
            </a:extLst>
          </p:cNvPr>
          <p:cNvSpPr>
            <a:spLocks noGrp="1"/>
          </p:cNvSpPr>
          <p:nvPr>
            <p:ph type="body" sz="quarter" idx="25"/>
          </p:nvPr>
        </p:nvSpPr>
        <p:spPr>
          <a:xfrm>
            <a:off x="555624" y="1558184"/>
            <a:ext cx="4516707" cy="4491634"/>
          </a:xfrm>
          <a:prstGeom prst="rect">
            <a:avLst/>
          </a:prstGeom>
        </p:spPr>
        <p:txBody>
          <a:bodyPr/>
          <a:lstStyle>
            <a:lvl1pPr>
              <a:defRPr sz="1600">
                <a:solidFill>
                  <a:schemeClr val="bg1"/>
                </a:solidFill>
                <a:latin typeface="+mn-lt"/>
              </a:defRPr>
            </a:lvl1pPr>
            <a:lvl2pPr>
              <a:defRPr sz="1400">
                <a:solidFill>
                  <a:schemeClr val="bg1"/>
                </a:solidFill>
                <a:latin typeface="+mn-lt"/>
              </a:defRPr>
            </a:lvl2pPr>
            <a:lvl3pPr>
              <a:defRPr sz="1200">
                <a:solidFill>
                  <a:schemeClr val="bg1"/>
                </a:solidFill>
                <a:latin typeface="+mn-lt"/>
              </a:defRPr>
            </a:lvl3pPr>
            <a:lvl4pPr>
              <a:defRPr>
                <a:latin typeface="+mn-lt"/>
              </a:defRPr>
            </a:lvl4pPr>
            <a:lvl5pPr>
              <a:defRPr>
                <a:latin typeface="+mn-lt"/>
              </a:defRPr>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301716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1_Title black">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B39130-7E19-92A0-FFED-E92D1AB684AC}"/>
              </a:ext>
            </a:extLst>
          </p:cNvPr>
          <p:cNvGraphicFramePr>
            <a:graphicFrameLocks noChangeAspect="1"/>
          </p:cNvGraphicFramePr>
          <p:nvPr userDrawn="1">
            <p:custDataLst>
              <p:tags r:id="rId2"/>
            </p:custDataLst>
            <p:extLst>
              <p:ext uri="{D42A27DB-BD31-4B8C-83A1-F6EECF244321}">
                <p14:modId xmlns:p14="http://schemas.microsoft.com/office/powerpoint/2010/main" val="4557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Diapositiva de think-cell" r:id="rId4" imgW="411" imgH="411" progId="TCLayout.ActiveDocument.1">
                  <p:embed/>
                </p:oleObj>
              </mc:Choice>
              <mc:Fallback>
                <p:oleObj name="Diapositiva de think-cell" r:id="rId4" imgW="411" imgH="411" progId="TCLayout.ActiveDocument.1">
                  <p:embed/>
                  <p:pic>
                    <p:nvPicPr>
                      <p:cNvPr id="10" name="think-cell data - do not delete" hidden="1">
                        <a:extLst>
                          <a:ext uri="{FF2B5EF4-FFF2-40B4-BE49-F238E27FC236}">
                            <a16:creationId xmlns:a16="http://schemas.microsoft.com/office/drawing/2014/main" id="{ADB39130-7E19-92A0-FFED-E92D1AB68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Marcador de texto 12">
            <a:extLst>
              <a:ext uri="{FF2B5EF4-FFF2-40B4-BE49-F238E27FC236}">
                <a16:creationId xmlns:a16="http://schemas.microsoft.com/office/drawing/2014/main" id="{073D5877-68A9-C427-EE71-D2E7E405387C}"/>
              </a:ext>
            </a:extLst>
          </p:cNvPr>
          <p:cNvSpPr>
            <a:spLocks noGrp="1"/>
          </p:cNvSpPr>
          <p:nvPr>
            <p:ph type="body" sz="quarter" idx="15" hasCustomPrompt="1"/>
          </p:nvPr>
        </p:nvSpPr>
        <p:spPr>
          <a:xfrm>
            <a:off x="555307" y="339982"/>
            <a:ext cx="11151139" cy="454471"/>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5104878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2_Title &amp; text blac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0E0902-C73C-B29F-1276-40C742EE5364}"/>
              </a:ext>
            </a:extLst>
          </p:cNvPr>
          <p:cNvGraphicFramePr>
            <a:graphicFrameLocks noChangeAspect="1"/>
          </p:cNvGraphicFramePr>
          <p:nvPr userDrawn="1">
            <p:custDataLst>
              <p:tags r:id="rId2"/>
            </p:custDataLst>
            <p:extLst>
              <p:ext uri="{D42A27DB-BD31-4B8C-83A1-F6EECF244321}">
                <p14:modId xmlns:p14="http://schemas.microsoft.com/office/powerpoint/2010/main" val="1416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Diapositiva de think-cell" r:id="rId4" imgW="411" imgH="411" progId="TCLayout.ActiveDocument.1">
                  <p:embed/>
                </p:oleObj>
              </mc:Choice>
              <mc:Fallback>
                <p:oleObj name="Diapositiva de think-cell" r:id="rId4" imgW="411" imgH="411" progId="TCLayout.ActiveDocument.1">
                  <p:embed/>
                  <p:pic>
                    <p:nvPicPr>
                      <p:cNvPr id="3" name="think-cell data - do not delete" hidden="1">
                        <a:extLst>
                          <a:ext uri="{FF2B5EF4-FFF2-40B4-BE49-F238E27FC236}">
                            <a16:creationId xmlns:a16="http://schemas.microsoft.com/office/drawing/2014/main" id="{A50E0902-C73C-B29F-1276-40C742EE53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Marcador de texto 16">
            <a:extLst>
              <a:ext uri="{FF2B5EF4-FFF2-40B4-BE49-F238E27FC236}">
                <a16:creationId xmlns:a16="http://schemas.microsoft.com/office/drawing/2014/main" id="{7213C399-11D2-A211-97A8-23AE85C08659}"/>
              </a:ext>
            </a:extLst>
          </p:cNvPr>
          <p:cNvSpPr>
            <a:spLocks noGrp="1"/>
          </p:cNvSpPr>
          <p:nvPr>
            <p:ph type="body" sz="quarter" idx="24" hasCustomPrompt="1"/>
          </p:nvPr>
        </p:nvSpPr>
        <p:spPr>
          <a:xfrm>
            <a:off x="555307" y="1064328"/>
            <a:ext cx="11152799" cy="1228054"/>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4" name="Marcador de texto 12">
            <a:extLst>
              <a:ext uri="{FF2B5EF4-FFF2-40B4-BE49-F238E27FC236}">
                <a16:creationId xmlns:a16="http://schemas.microsoft.com/office/drawing/2014/main" id="{E16E29EF-9054-7751-DC7D-C19F31ED3CD6}"/>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4263846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over White 1">
    <p:bg>
      <p:bgPr>
        <a:solidFill>
          <a:schemeClr val="bg1"/>
        </a:solidFill>
        <a:effectLst/>
      </p:bgPr>
    </p:bg>
    <p:spTree>
      <p:nvGrpSpPr>
        <p:cNvPr id="1" name=""/>
        <p:cNvGrpSpPr/>
        <p:nvPr/>
      </p:nvGrpSpPr>
      <p:grpSpPr>
        <a:xfrm>
          <a:off x="0" y="0"/>
          <a:ext cx="0" cy="0"/>
          <a:chOff x="0" y="0"/>
          <a:chExt cx="0" cy="0"/>
        </a:xfrm>
      </p:grpSpPr>
      <p:pic>
        <p:nvPicPr>
          <p:cNvPr id="3" name="Imagen 2" descr="Logotipo&#10;&#10;Descripción generada automáticamente">
            <a:extLst>
              <a:ext uri="{FF2B5EF4-FFF2-40B4-BE49-F238E27FC236}">
                <a16:creationId xmlns:a16="http://schemas.microsoft.com/office/drawing/2014/main" id="{3679C8AB-DF1F-6A48-9FFD-BECC8752A52D}"/>
              </a:ext>
            </a:extLst>
          </p:cNvPr>
          <p:cNvPicPr>
            <a:picLocks noChangeAspect="1"/>
          </p:cNvPicPr>
          <p:nvPr userDrawn="1"/>
        </p:nvPicPr>
        <p:blipFill>
          <a:blip r:embed="rId2"/>
          <a:stretch>
            <a:fillRect/>
          </a:stretch>
        </p:blipFill>
        <p:spPr>
          <a:xfrm>
            <a:off x="373911" y="185894"/>
            <a:ext cx="1920402" cy="1161273"/>
          </a:xfrm>
          <a:prstGeom prst="rect">
            <a:avLst/>
          </a:prstGeom>
        </p:spPr>
      </p:pic>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1" y="2921282"/>
            <a:ext cx="3301907" cy="999565"/>
          </a:xfrm>
          <a:prstGeom prst="rect">
            <a:avLst/>
          </a:prstGeom>
        </p:spPr>
        <p:txBody>
          <a:bodyPr anchor="ctr"/>
          <a:lstStyle>
            <a:lvl1pPr>
              <a:defRPr sz="3600" b="1" i="0">
                <a:solidFill>
                  <a:srgbClr val="0042ED"/>
                </a:solidFill>
                <a:latin typeface="Arial Narrow" panose="020B0604020202020204" pitchFamily="34" charset="0"/>
              </a:defRPr>
            </a:lvl1pPr>
          </a:lstStyle>
          <a:p>
            <a:r>
              <a:rPr lang="es-ES"/>
              <a:t>TITLE OF THE PRESENTATION</a:t>
            </a:r>
          </a:p>
        </p:txBody>
      </p:sp>
      <p:sp>
        <p:nvSpPr>
          <p:cNvPr id="9" name="Marcador de texto 3">
            <a:extLst>
              <a:ext uri="{FF2B5EF4-FFF2-40B4-BE49-F238E27FC236}">
                <a16:creationId xmlns:a16="http://schemas.microsoft.com/office/drawing/2014/main" id="{A693E489-2CF1-15CA-1564-812DB4F5958B}"/>
              </a:ext>
            </a:extLst>
          </p:cNvPr>
          <p:cNvSpPr>
            <a:spLocks noGrp="1"/>
          </p:cNvSpPr>
          <p:nvPr>
            <p:ph type="body" sz="half" idx="2" hasCustomPrompt="1"/>
          </p:nvPr>
        </p:nvSpPr>
        <p:spPr>
          <a:xfrm>
            <a:off x="535611" y="3920847"/>
            <a:ext cx="3301907" cy="696756"/>
          </a:xfrm>
          <a:prstGeom prst="rect">
            <a:avLst/>
          </a:prstGeom>
        </p:spPr>
        <p:txBody>
          <a:bodyPr/>
          <a:lstStyle>
            <a:lvl1pPr marL="0" indent="0">
              <a:buNone/>
              <a:defRPr sz="2000" b="0" i="0">
                <a:solidFill>
                  <a:srgbClr val="0042ED"/>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Subtitle</a:t>
            </a:r>
          </a:p>
        </p:txBody>
      </p:sp>
      <p:sp>
        <p:nvSpPr>
          <p:cNvPr id="4" name="Marcador de posición de imagen 2">
            <a:extLst>
              <a:ext uri="{FF2B5EF4-FFF2-40B4-BE49-F238E27FC236}">
                <a16:creationId xmlns:a16="http://schemas.microsoft.com/office/drawing/2014/main" id="{C1AC71DB-90C7-AEDF-FAB4-EBA8EB91AA98}"/>
              </a:ext>
            </a:extLst>
          </p:cNvPr>
          <p:cNvSpPr>
            <a:spLocks noGrp="1"/>
          </p:cNvSpPr>
          <p:nvPr>
            <p:ph type="pic" idx="1"/>
          </p:nvPr>
        </p:nvSpPr>
        <p:spPr>
          <a:xfrm>
            <a:off x="4613564" y="0"/>
            <a:ext cx="7578436" cy="6857999"/>
          </a:xfrm>
          <a:prstGeom prst="rect">
            <a:avLst/>
          </a:prstGeom>
        </p:spPr>
        <p:txBody>
          <a:bodyPr/>
          <a:lstStyle>
            <a:lvl1pPr marL="0" indent="0">
              <a:buNone/>
              <a:defRPr sz="3200" b="0" i="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7" name="CuadroTexto 6">
            <a:extLst>
              <a:ext uri="{FF2B5EF4-FFF2-40B4-BE49-F238E27FC236}">
                <a16:creationId xmlns:a16="http://schemas.microsoft.com/office/drawing/2014/main" id="{3213E486-EF19-1D31-6971-4DE69A62B9A6}"/>
              </a:ext>
            </a:extLst>
          </p:cNvPr>
          <p:cNvSpPr txBox="1"/>
          <p:nvPr userDrawn="1"/>
        </p:nvSpPr>
        <p:spPr>
          <a:xfrm>
            <a:off x="535612" y="5247714"/>
            <a:ext cx="3722352" cy="1400383"/>
          </a:xfrm>
          <a:prstGeom prst="rect">
            <a:avLst/>
          </a:prstGeom>
          <a:noFill/>
        </p:spPr>
        <p:txBody>
          <a:bodyPr wrap="square" rtlCol="0">
            <a:spAutoFit/>
          </a:bodyPr>
          <a:lstStyle/>
          <a:p>
            <a:pPr eaLnBrk="0" hangingPunct="0">
              <a:spcAft>
                <a:spcPts val="600"/>
              </a:spcAft>
              <a:tabLst>
                <a:tab pos="2400300" algn="l"/>
              </a:tabLst>
            </a:pP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RIETARY AND CONFIDENTIAL </a:t>
            </a:r>
          </a:p>
          <a:p>
            <a:pPr eaLnBrk="0" hangingPunct="0">
              <a:spcAft>
                <a:spcPts val="0"/>
              </a:spcAft>
              <a:tabLst>
                <a:tab pos="2400300" algn="l"/>
              </a:tabLst>
            </a:pP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Industria de Turbo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S.A.U (ITP Aero) and/or its affiliates 2025. All rights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reserved.Thi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Presentation is provided to the recipient for informational purposes. No representations or warranties are made by ITP Aero or its direct and indirect equity holders and their respective affiliates as to the accuracy of the information contained herein and any guidance and/or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jections.The</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information in this document shall not be used for any purpose other than that for which it is supplied, nor disclosed without the express previous written consent of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Industria</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de Turbo </a:t>
            </a:r>
            <a:r>
              <a:rPr lang="en-US" sz="800" b="0" i="0" err="1">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Propulsores</a:t>
            </a:r>
            <a:r>
              <a:rPr lang="en-US" sz="800" b="0" i="0">
                <a:solidFill>
                  <a:schemeClr val="tx1"/>
                </a:solidFill>
                <a:latin typeface="Arial" panose="020B0604020202020204" pitchFamily="34" charset="0"/>
                <a:ea typeface="Arial" charset="0"/>
                <a:cs typeface="Arial" panose="020B0604020202020204" pitchFamily="34" charset="0"/>
                <a:sym typeface="Century Gothic" panose="020B0502020202020204" pitchFamily="34" charset="0"/>
              </a:rPr>
              <a:t> S.A.U. and/or its affiliates.</a:t>
            </a:r>
          </a:p>
        </p:txBody>
      </p:sp>
    </p:spTree>
    <p:extLst>
      <p:ext uri="{BB962C8B-B14F-4D97-AF65-F5344CB8AC3E}">
        <p14:creationId xmlns:p14="http://schemas.microsoft.com/office/powerpoint/2010/main" val="226506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3_Title &amp; Graph black">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5" name="Marcador de gráfico 4">
            <a:extLst>
              <a:ext uri="{FF2B5EF4-FFF2-40B4-BE49-F238E27FC236}">
                <a16:creationId xmlns:a16="http://schemas.microsoft.com/office/drawing/2014/main" id="{44812BA6-5DFB-194C-219B-68CEF2836269}"/>
              </a:ext>
            </a:extLst>
          </p:cNvPr>
          <p:cNvSpPr>
            <a:spLocks noGrp="1"/>
          </p:cNvSpPr>
          <p:nvPr>
            <p:ph type="chart" sz="quarter" idx="17" hasCustomPrompt="1"/>
          </p:nvPr>
        </p:nvSpPr>
        <p:spPr>
          <a:xfrm>
            <a:off x="555307" y="2364205"/>
            <a:ext cx="11152799" cy="3664454"/>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Gráfico</a:t>
            </a:r>
          </a:p>
        </p:txBody>
      </p:sp>
      <p:sp>
        <p:nvSpPr>
          <p:cNvPr id="4" name="Marcador de texto 16">
            <a:extLst>
              <a:ext uri="{FF2B5EF4-FFF2-40B4-BE49-F238E27FC236}">
                <a16:creationId xmlns:a16="http://schemas.microsoft.com/office/drawing/2014/main" id="{1D807143-1433-9D91-48A2-AD636EB40683}"/>
              </a:ext>
            </a:extLst>
          </p:cNvPr>
          <p:cNvSpPr>
            <a:spLocks noGrp="1"/>
          </p:cNvSpPr>
          <p:nvPr>
            <p:ph type="body" sz="quarter" idx="24" hasCustomPrompt="1"/>
          </p:nvPr>
        </p:nvSpPr>
        <p:spPr>
          <a:xfrm>
            <a:off x="555307" y="1064328"/>
            <a:ext cx="11152799" cy="1228054"/>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p:txBody>
      </p:sp>
      <p:sp>
        <p:nvSpPr>
          <p:cNvPr id="8" name="Marcador de texto 12">
            <a:extLst>
              <a:ext uri="{FF2B5EF4-FFF2-40B4-BE49-F238E27FC236}">
                <a16:creationId xmlns:a16="http://schemas.microsoft.com/office/drawing/2014/main" id="{605E5DA6-C99F-0E0A-D17B-F688E57DB704}"/>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ysClr val="windowText" lastClr="000000"/>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11544541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4_Title &amp; Graph black">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9" name="Marcador de gráfico 8">
            <a:extLst>
              <a:ext uri="{FF2B5EF4-FFF2-40B4-BE49-F238E27FC236}">
                <a16:creationId xmlns:a16="http://schemas.microsoft.com/office/drawing/2014/main" id="{9F08C36F-388D-BEEA-322B-90AF0FB4722F}"/>
              </a:ext>
            </a:extLst>
          </p:cNvPr>
          <p:cNvSpPr>
            <a:spLocks noGrp="1"/>
          </p:cNvSpPr>
          <p:nvPr>
            <p:ph type="chart" sz="quarter" idx="17" hasCustomPrompt="1"/>
          </p:nvPr>
        </p:nvSpPr>
        <p:spPr>
          <a:xfrm>
            <a:off x="4891579" y="742686"/>
            <a:ext cx="6807980" cy="4886325"/>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Gráfica</a:t>
            </a:r>
          </a:p>
        </p:txBody>
      </p:sp>
      <p:sp>
        <p:nvSpPr>
          <p:cNvPr id="8"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4032000"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4" name="Marcador de texto 4">
            <a:extLst>
              <a:ext uri="{FF2B5EF4-FFF2-40B4-BE49-F238E27FC236}">
                <a16:creationId xmlns:a16="http://schemas.microsoft.com/office/drawing/2014/main" id="{082E52D6-875B-FFC3-1AA8-9AA0EE79AE3C}"/>
              </a:ext>
            </a:extLst>
          </p:cNvPr>
          <p:cNvSpPr>
            <a:spLocks noGrp="1"/>
          </p:cNvSpPr>
          <p:nvPr>
            <p:ph type="body" sz="quarter" idx="18"/>
          </p:nvPr>
        </p:nvSpPr>
        <p:spPr>
          <a:xfrm>
            <a:off x="555625" y="1733550"/>
            <a:ext cx="4032000" cy="3895461"/>
          </a:xfrm>
          <a:prstGeom prst="rect">
            <a:avLst/>
          </a:prstGeom>
        </p:spPr>
        <p:txBody>
          <a:bodyPr/>
          <a:lstStyle>
            <a:lvl1pPr>
              <a:defRPr sz="1400"/>
            </a:lvl1pPr>
            <a:lvl2pPr>
              <a:defRPr sz="1200"/>
            </a:lvl2pPr>
            <a:lvl3pPr>
              <a:defRPr sz="1050"/>
            </a:lvl3pPr>
            <a:lvl4pPr>
              <a:defRPr sz="1200"/>
            </a:lvl4pPr>
            <a:lvl5pPr>
              <a:defRPr sz="1200"/>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36966369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5_Title &amp; Content black">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AF5039CA-34D5-948B-656F-BBA6216EF40C}"/>
              </a:ext>
            </a:extLst>
          </p:cNvPr>
          <p:cNvSpPr>
            <a:spLocks noGrp="1"/>
          </p:cNvSpPr>
          <p:nvPr>
            <p:ph sz="quarter" idx="18" hasCustomPrompt="1"/>
          </p:nvPr>
        </p:nvSpPr>
        <p:spPr>
          <a:xfrm>
            <a:off x="4892358" y="742686"/>
            <a:ext cx="6784975" cy="4895850"/>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pPr lvl="0"/>
            <a:r>
              <a:rPr lang="es-ES"/>
              <a:t>Contenido</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6" y="339982"/>
            <a:ext cx="4032000" cy="1179872"/>
          </a:xfrm>
          <a:prstGeom prst="rect">
            <a:avLst/>
          </a:prstGeom>
        </p:spPr>
        <p:txBody>
          <a:bodyPr/>
          <a:lstStyle>
            <a:lvl1pPr marL="0" indent="0">
              <a:buNone/>
              <a:defRPr sz="3200" b="1" i="0">
                <a:solidFill>
                  <a:schemeClr val="tx1"/>
                </a:solidFill>
                <a:latin typeface="Arial Narrow" panose="020B0604020202020204" pitchFamily="34" charset="0"/>
              </a:defRPr>
            </a:lvl1pPr>
          </a:lstStyle>
          <a:p>
            <a:pPr lvl="0"/>
            <a:r>
              <a:rPr lang="es-ES"/>
              <a:t>TITLE ALWAYS IN CAPITAL LETTERS</a:t>
            </a:r>
          </a:p>
        </p:txBody>
      </p:sp>
      <p:sp>
        <p:nvSpPr>
          <p:cNvPr id="2" name="Marcador de texto 4">
            <a:extLst>
              <a:ext uri="{FF2B5EF4-FFF2-40B4-BE49-F238E27FC236}">
                <a16:creationId xmlns:a16="http://schemas.microsoft.com/office/drawing/2014/main" id="{68FE391C-9013-0E69-8CF1-D9A21B736108}"/>
              </a:ext>
            </a:extLst>
          </p:cNvPr>
          <p:cNvSpPr>
            <a:spLocks noGrp="1"/>
          </p:cNvSpPr>
          <p:nvPr>
            <p:ph type="body" sz="quarter" idx="19"/>
          </p:nvPr>
        </p:nvSpPr>
        <p:spPr>
          <a:xfrm>
            <a:off x="555625" y="1733550"/>
            <a:ext cx="4032000" cy="3895461"/>
          </a:xfrm>
          <a:prstGeom prst="rect">
            <a:avLst/>
          </a:prstGeom>
        </p:spPr>
        <p:txBody>
          <a:bodyPr/>
          <a:lstStyle>
            <a:lvl1pPr>
              <a:defRPr sz="1400"/>
            </a:lvl1pPr>
            <a:lvl2pPr>
              <a:defRPr sz="1200"/>
            </a:lvl2pPr>
            <a:lvl3pPr>
              <a:defRPr sz="1050"/>
            </a:lvl3pPr>
            <a:lvl4pPr>
              <a:defRPr sz="1200"/>
            </a:lvl4pPr>
            <a:lvl5pPr>
              <a:defRPr sz="1200"/>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9245653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0_Comparison">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C114EC5B-2EEC-2F5A-DA45-585989C9831A}"/>
              </a:ext>
            </a:extLst>
          </p:cNvPr>
          <p:cNvSpPr/>
          <p:nvPr userDrawn="1"/>
        </p:nvSpPr>
        <p:spPr>
          <a:xfrm>
            <a:off x="6097947" y="0"/>
            <a:ext cx="6094053" cy="6858000"/>
          </a:xfrm>
          <a:prstGeom prst="rect">
            <a:avLst/>
          </a:prstGeom>
          <a:solidFill>
            <a:srgbClr val="0042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13"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45148" y="737146"/>
            <a:ext cx="3638550" cy="48803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FROM...</a:t>
            </a:r>
          </a:p>
        </p:txBody>
      </p:sp>
      <p:sp>
        <p:nvSpPr>
          <p:cNvPr id="9" name="Marcador de texto 12">
            <a:extLst>
              <a:ext uri="{FF2B5EF4-FFF2-40B4-BE49-F238E27FC236}">
                <a16:creationId xmlns:a16="http://schemas.microsoft.com/office/drawing/2014/main" id="{1D5BFB2B-DA73-07F1-2CBB-5E2F32B3C5FF}"/>
              </a:ext>
            </a:extLst>
          </p:cNvPr>
          <p:cNvSpPr>
            <a:spLocks noGrp="1"/>
          </p:cNvSpPr>
          <p:nvPr>
            <p:ph type="body" sz="quarter" idx="17" hasCustomPrompt="1"/>
          </p:nvPr>
        </p:nvSpPr>
        <p:spPr>
          <a:xfrm>
            <a:off x="545148" y="3274606"/>
            <a:ext cx="3638550" cy="48803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EXPLANATION...</a:t>
            </a:r>
          </a:p>
        </p:txBody>
      </p:sp>
      <p:sp>
        <p:nvSpPr>
          <p:cNvPr id="11" name="Marcador de texto 12">
            <a:extLst>
              <a:ext uri="{FF2B5EF4-FFF2-40B4-BE49-F238E27FC236}">
                <a16:creationId xmlns:a16="http://schemas.microsoft.com/office/drawing/2014/main" id="{F425D709-47CE-A29F-823A-3E8029173071}"/>
              </a:ext>
            </a:extLst>
          </p:cNvPr>
          <p:cNvSpPr>
            <a:spLocks noGrp="1"/>
          </p:cNvSpPr>
          <p:nvPr>
            <p:ph type="body" sz="quarter" idx="19" hasCustomPrompt="1"/>
          </p:nvPr>
        </p:nvSpPr>
        <p:spPr>
          <a:xfrm>
            <a:off x="6773502" y="737146"/>
            <a:ext cx="3638550" cy="488032"/>
          </a:xfrm>
          <a:prstGeom prst="rect">
            <a:avLst/>
          </a:prstGeom>
        </p:spPr>
        <p:txBody>
          <a:bodyPr/>
          <a:lstStyle>
            <a:lvl1pPr marL="0" indent="0">
              <a:buNone/>
              <a:defRPr sz="3200" b="1" i="0">
                <a:solidFill>
                  <a:schemeClr val="bg1"/>
                </a:solidFill>
                <a:latin typeface="Arial Narrow" panose="020B0604020202020204" pitchFamily="34" charset="0"/>
              </a:defRPr>
            </a:lvl1pPr>
          </a:lstStyle>
          <a:p>
            <a:pPr lvl="0"/>
            <a:r>
              <a:rPr lang="es-ES"/>
              <a:t>TO...</a:t>
            </a:r>
          </a:p>
        </p:txBody>
      </p:sp>
      <p:sp>
        <p:nvSpPr>
          <p:cNvPr id="14" name="Marcador de texto 12">
            <a:extLst>
              <a:ext uri="{FF2B5EF4-FFF2-40B4-BE49-F238E27FC236}">
                <a16:creationId xmlns:a16="http://schemas.microsoft.com/office/drawing/2014/main" id="{8A78234A-83D4-A578-9397-82DBEDE74ABA}"/>
              </a:ext>
            </a:extLst>
          </p:cNvPr>
          <p:cNvSpPr>
            <a:spLocks noGrp="1"/>
          </p:cNvSpPr>
          <p:nvPr>
            <p:ph type="body" sz="quarter" idx="21" hasCustomPrompt="1"/>
          </p:nvPr>
        </p:nvSpPr>
        <p:spPr>
          <a:xfrm>
            <a:off x="6773502" y="3274606"/>
            <a:ext cx="3638550" cy="488032"/>
          </a:xfrm>
          <a:prstGeom prst="rect">
            <a:avLst/>
          </a:prstGeom>
        </p:spPr>
        <p:txBody>
          <a:bodyPr/>
          <a:lstStyle>
            <a:lvl1pPr marL="0" indent="0">
              <a:buNone/>
              <a:defRPr sz="3200" b="1" i="0">
                <a:solidFill>
                  <a:schemeClr val="bg1"/>
                </a:solidFill>
                <a:latin typeface="Arial Narrow" panose="020B0604020202020204" pitchFamily="34" charset="0"/>
              </a:defRPr>
            </a:lvl1pPr>
          </a:lstStyle>
          <a:p>
            <a:pPr lvl="0"/>
            <a:r>
              <a:rPr lang="es-ES"/>
              <a:t>EXPLANATION...</a:t>
            </a:r>
          </a:p>
        </p:txBody>
      </p:sp>
      <p:sp>
        <p:nvSpPr>
          <p:cNvPr id="18" name="Marcador de texto 16">
            <a:extLst>
              <a:ext uri="{FF2B5EF4-FFF2-40B4-BE49-F238E27FC236}">
                <a16:creationId xmlns:a16="http://schemas.microsoft.com/office/drawing/2014/main" id="{7213C399-11D2-A211-97A8-23AE85C08659}"/>
              </a:ext>
            </a:extLst>
          </p:cNvPr>
          <p:cNvSpPr>
            <a:spLocks noGrp="1"/>
          </p:cNvSpPr>
          <p:nvPr>
            <p:ph type="body" sz="quarter" idx="24" hasCustomPrompt="1"/>
          </p:nvPr>
        </p:nvSpPr>
        <p:spPr>
          <a:xfrm>
            <a:off x="545148" y="3916148"/>
            <a:ext cx="4578032" cy="1771590"/>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a:p>
            <a:pPr lvl="0"/>
            <a:endParaRPr lang="es-ES"/>
          </a:p>
          <a:p>
            <a:pPr lvl="0"/>
            <a:endParaRPr lang="es-ES"/>
          </a:p>
          <a:p>
            <a:pPr lvl="0"/>
            <a:endParaRPr lang="es-ES"/>
          </a:p>
        </p:txBody>
      </p:sp>
      <p:sp>
        <p:nvSpPr>
          <p:cNvPr id="19" name="Marcador de texto 16">
            <a:extLst>
              <a:ext uri="{FF2B5EF4-FFF2-40B4-BE49-F238E27FC236}">
                <a16:creationId xmlns:a16="http://schemas.microsoft.com/office/drawing/2014/main" id="{7213C399-11D2-A211-97A8-23AE85C08659}"/>
              </a:ext>
            </a:extLst>
          </p:cNvPr>
          <p:cNvSpPr>
            <a:spLocks noGrp="1"/>
          </p:cNvSpPr>
          <p:nvPr>
            <p:ph type="body" sz="quarter" idx="25" hasCustomPrompt="1"/>
          </p:nvPr>
        </p:nvSpPr>
        <p:spPr>
          <a:xfrm>
            <a:off x="6773502" y="1352952"/>
            <a:ext cx="4578032" cy="1771590"/>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a:p>
            <a:pPr lvl="0"/>
            <a:endParaRPr lang="es-ES"/>
          </a:p>
          <a:p>
            <a:pPr lvl="0"/>
            <a:endParaRPr lang="es-ES"/>
          </a:p>
          <a:p>
            <a:pPr lvl="0"/>
            <a:endParaRPr lang="es-ES"/>
          </a:p>
        </p:txBody>
      </p:sp>
      <p:sp>
        <p:nvSpPr>
          <p:cNvPr id="20" name="Marcador de texto 16">
            <a:extLst>
              <a:ext uri="{FF2B5EF4-FFF2-40B4-BE49-F238E27FC236}">
                <a16:creationId xmlns:a16="http://schemas.microsoft.com/office/drawing/2014/main" id="{7213C399-11D2-A211-97A8-23AE85C08659}"/>
              </a:ext>
            </a:extLst>
          </p:cNvPr>
          <p:cNvSpPr>
            <a:spLocks noGrp="1"/>
          </p:cNvSpPr>
          <p:nvPr>
            <p:ph type="body" sz="quarter" idx="26" hasCustomPrompt="1"/>
          </p:nvPr>
        </p:nvSpPr>
        <p:spPr>
          <a:xfrm>
            <a:off x="6773502" y="3916148"/>
            <a:ext cx="4578032" cy="1771590"/>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a:p>
            <a:pPr lvl="0"/>
            <a:endParaRPr lang="es-ES"/>
          </a:p>
          <a:p>
            <a:pPr lvl="0"/>
            <a:endParaRPr lang="es-ES"/>
          </a:p>
          <a:p>
            <a:pPr lvl="0"/>
            <a:endParaRPr lang="es-ES"/>
          </a:p>
        </p:txBody>
      </p:sp>
      <p:sp>
        <p:nvSpPr>
          <p:cNvPr id="15" name="Marcador de texto 16">
            <a:extLst>
              <a:ext uri="{FF2B5EF4-FFF2-40B4-BE49-F238E27FC236}">
                <a16:creationId xmlns:a16="http://schemas.microsoft.com/office/drawing/2014/main" id="{7213C399-11D2-A211-97A8-23AE85C08659}"/>
              </a:ext>
            </a:extLst>
          </p:cNvPr>
          <p:cNvSpPr>
            <a:spLocks noGrp="1"/>
          </p:cNvSpPr>
          <p:nvPr>
            <p:ph type="body" sz="quarter" idx="27" hasCustomPrompt="1"/>
          </p:nvPr>
        </p:nvSpPr>
        <p:spPr>
          <a:xfrm>
            <a:off x="545148" y="1352952"/>
            <a:ext cx="4578032" cy="1797326"/>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a:p>
            <a:pPr lvl="0"/>
            <a:endParaRPr lang="es-ES"/>
          </a:p>
          <a:p>
            <a:pPr lvl="0"/>
            <a:endParaRPr lang="es-ES"/>
          </a:p>
          <a:p>
            <a:pPr lvl="0"/>
            <a:endParaRPr lang="es-ES"/>
          </a:p>
        </p:txBody>
      </p:sp>
    </p:spTree>
    <p:extLst>
      <p:ext uri="{BB962C8B-B14F-4D97-AF65-F5344CB8AC3E}">
        <p14:creationId xmlns:p14="http://schemas.microsoft.com/office/powerpoint/2010/main" val="40986735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1_Comparison">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8" name="Marcador de texto 2">
            <a:extLst>
              <a:ext uri="{FF2B5EF4-FFF2-40B4-BE49-F238E27FC236}">
                <a16:creationId xmlns:a16="http://schemas.microsoft.com/office/drawing/2014/main" id="{2F79BBD8-FD79-6894-3428-9F05665813F5}"/>
              </a:ext>
            </a:extLst>
          </p:cNvPr>
          <p:cNvSpPr>
            <a:spLocks noGrp="1"/>
          </p:cNvSpPr>
          <p:nvPr>
            <p:ph type="body" sz="quarter" idx="19" hasCustomPrompt="1"/>
          </p:nvPr>
        </p:nvSpPr>
        <p:spPr>
          <a:xfrm>
            <a:off x="5555875" y="3411832"/>
            <a:ext cx="3523470"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19" name="Conector recto 18">
            <a:extLst>
              <a:ext uri="{FF2B5EF4-FFF2-40B4-BE49-F238E27FC236}">
                <a16:creationId xmlns:a16="http://schemas.microsoft.com/office/drawing/2014/main" id="{71949490-10BA-63F0-3A1E-996004EB8021}"/>
              </a:ext>
            </a:extLst>
          </p:cNvPr>
          <p:cNvCxnSpPr>
            <a:cxnSpLocks/>
          </p:cNvCxnSpPr>
          <p:nvPr userDrawn="1"/>
        </p:nvCxnSpPr>
        <p:spPr>
          <a:xfrm flipH="1" flipV="1">
            <a:off x="5190836" y="1801092"/>
            <a:ext cx="18473" cy="4285672"/>
          </a:xfrm>
          <a:prstGeom prst="line">
            <a:avLst/>
          </a:prstGeom>
          <a:ln w="12700"/>
        </p:spPr>
        <p:style>
          <a:lnRef idx="2">
            <a:schemeClr val="dk1"/>
          </a:lnRef>
          <a:fillRef idx="0">
            <a:schemeClr val="dk1"/>
          </a:fillRef>
          <a:effectRef idx="1">
            <a:schemeClr val="dk1"/>
          </a:effectRef>
          <a:fontRef idx="minor">
            <a:schemeClr val="tx1"/>
          </a:fontRef>
        </p:style>
      </p:cxnSp>
      <p:sp>
        <p:nvSpPr>
          <p:cNvPr id="12" name="Marcador de texto 16">
            <a:extLst>
              <a:ext uri="{FF2B5EF4-FFF2-40B4-BE49-F238E27FC236}">
                <a16:creationId xmlns:a16="http://schemas.microsoft.com/office/drawing/2014/main" id="{7213C399-11D2-A211-97A8-23AE85C08659}"/>
              </a:ext>
            </a:extLst>
          </p:cNvPr>
          <p:cNvSpPr>
            <a:spLocks noGrp="1"/>
          </p:cNvSpPr>
          <p:nvPr>
            <p:ph type="body" sz="quarter" idx="25" hasCustomPrompt="1"/>
          </p:nvPr>
        </p:nvSpPr>
        <p:spPr>
          <a:xfrm>
            <a:off x="5555875" y="1801093"/>
            <a:ext cx="4296813" cy="1422398"/>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sed </a:t>
            </a:r>
            <a:r>
              <a:rPr lang="es-ES" err="1"/>
              <a:t>diam</a:t>
            </a:r>
            <a:r>
              <a:rPr lang="es-ES"/>
              <a:t> </a:t>
            </a:r>
            <a:r>
              <a:rPr lang="es-ES" err="1"/>
              <a:t>nonummy</a:t>
            </a:r>
            <a:r>
              <a:rPr lang="es-ES"/>
              <a:t> </a:t>
            </a:r>
            <a:r>
              <a:rPr lang="es-ES" err="1"/>
              <a:t>nibh</a:t>
            </a:r>
            <a:r>
              <a:rPr lang="es-ES"/>
              <a:t> </a:t>
            </a:r>
            <a:r>
              <a:rPr lang="es-ES" err="1"/>
              <a:t>euismod</a:t>
            </a:r>
            <a:r>
              <a:rPr lang="es-ES"/>
              <a:t> </a:t>
            </a:r>
            <a:r>
              <a:rPr lang="es-ES" err="1"/>
              <a:t>tincidunt</a:t>
            </a:r>
            <a:r>
              <a:rPr lang="es-ES"/>
              <a:t> ut </a:t>
            </a:r>
            <a:r>
              <a:rPr lang="es-ES" err="1"/>
              <a:t>aliquam</a:t>
            </a:r>
            <a:r>
              <a:rPr lang="es-ES"/>
              <a:t> </a:t>
            </a:r>
            <a:r>
              <a:rPr lang="es-ES" err="1"/>
              <a:t>volutpat</a:t>
            </a:r>
            <a:r>
              <a:rPr lang="es-ES"/>
              <a:t> </a:t>
            </a:r>
            <a:r>
              <a:rPr lang="es-ES" err="1"/>
              <a:t>laoreet</a:t>
            </a:r>
            <a:r>
              <a:rPr lang="es-ES"/>
              <a:t> </a:t>
            </a:r>
            <a:r>
              <a:rPr lang="es-ES" err="1"/>
              <a:t>dolore</a:t>
            </a:r>
            <a:r>
              <a:rPr lang="es-ES"/>
              <a:t> magna </a:t>
            </a:r>
            <a:r>
              <a:rPr lang="es-ES" err="1"/>
              <a:t>aliquam</a:t>
            </a:r>
            <a:r>
              <a:rPr lang="es-ES"/>
              <a:t> </a:t>
            </a:r>
            <a:r>
              <a:rPr lang="es-ES" err="1"/>
              <a:t>volutpat</a:t>
            </a:r>
            <a:r>
              <a:rPr lang="es-ES"/>
              <a:t>. </a:t>
            </a:r>
          </a:p>
          <a:p>
            <a:pPr lvl="0"/>
            <a:endParaRPr lang="es-ES"/>
          </a:p>
          <a:p>
            <a:pPr lvl="0"/>
            <a:endParaRPr lang="es-ES"/>
          </a:p>
          <a:p>
            <a:pPr lvl="0"/>
            <a:endParaRPr lang="es-ES"/>
          </a:p>
        </p:txBody>
      </p:sp>
      <p:sp>
        <p:nvSpPr>
          <p:cNvPr id="11" name="Marcador de texto 16">
            <a:extLst>
              <a:ext uri="{FF2B5EF4-FFF2-40B4-BE49-F238E27FC236}">
                <a16:creationId xmlns:a16="http://schemas.microsoft.com/office/drawing/2014/main" id="{7213C399-11D2-A211-97A8-23AE85C08659}"/>
              </a:ext>
            </a:extLst>
          </p:cNvPr>
          <p:cNvSpPr>
            <a:spLocks noGrp="1"/>
          </p:cNvSpPr>
          <p:nvPr>
            <p:ph type="body" sz="quarter" idx="16" hasCustomPrompt="1"/>
          </p:nvPr>
        </p:nvSpPr>
        <p:spPr>
          <a:xfrm>
            <a:off x="555308" y="1733407"/>
            <a:ext cx="4288962" cy="4316411"/>
          </a:xfrm>
          <a:prstGeom prst="rect">
            <a:avLst/>
          </a:prstGeom>
        </p:spPr>
        <p:txBody>
          <a:bodyPr/>
          <a:lstStyle>
            <a:lvl1pPr>
              <a:defRPr sz="1400" b="0" i="0">
                <a:latin typeface="Arial" panose="020B0604020202020204" pitchFamily="34" charset="0"/>
                <a:cs typeface="Arial" panose="020B060402020202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lvl="0"/>
            <a:endParaRPr lang="es-ES"/>
          </a:p>
          <a:p>
            <a:pPr lvl="0"/>
            <a:endParaRPr lang="es-ES"/>
          </a:p>
          <a:p>
            <a:pPr lvl="0"/>
            <a:endParaRPr lang="es-ES"/>
          </a:p>
        </p:txBody>
      </p:sp>
      <p:sp>
        <p:nvSpPr>
          <p:cNvPr id="3" name="Marcador de texto 12">
            <a:extLst>
              <a:ext uri="{FF2B5EF4-FFF2-40B4-BE49-F238E27FC236}">
                <a16:creationId xmlns:a16="http://schemas.microsoft.com/office/drawing/2014/main" id="{9EDA1090-0CF1-E3C2-FB18-9AC1AAAC9731}"/>
              </a:ext>
            </a:extLst>
          </p:cNvPr>
          <p:cNvSpPr>
            <a:spLocks noGrp="1"/>
          </p:cNvSpPr>
          <p:nvPr>
            <p:ph type="body" sz="quarter" idx="27" hasCustomPrompt="1"/>
          </p:nvPr>
        </p:nvSpPr>
        <p:spPr>
          <a:xfrm>
            <a:off x="555307" y="339982"/>
            <a:ext cx="11151139" cy="454471"/>
          </a:xfrm>
          <a:prstGeom prst="rect">
            <a:avLst/>
          </a:prstGeom>
        </p:spPr>
        <p:txBody>
          <a:bodyPr/>
          <a:lstStyle>
            <a:lvl1pPr marL="0" indent="0">
              <a:buNone/>
              <a:defRPr sz="3200" b="1" i="0">
                <a:solidFill>
                  <a:schemeClr val="tx2"/>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40953885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20_Three pictures">
    <p:spTree>
      <p:nvGrpSpPr>
        <p:cNvPr id="1" name=""/>
        <p:cNvGrpSpPr/>
        <p:nvPr/>
      </p:nvGrpSpPr>
      <p:grpSpPr>
        <a:xfrm>
          <a:off x="0" y="0"/>
          <a:ext cx="0" cy="0"/>
          <a:chOff x="0" y="0"/>
          <a:chExt cx="0" cy="0"/>
        </a:xfrm>
      </p:grpSpPr>
      <p:sp>
        <p:nvSpPr>
          <p:cNvPr id="30" name="Marcador de texto 29">
            <a:extLst>
              <a:ext uri="{FF2B5EF4-FFF2-40B4-BE49-F238E27FC236}">
                <a16:creationId xmlns:a16="http://schemas.microsoft.com/office/drawing/2014/main" id="{C6D402B8-BA4D-96B6-93ED-BFA19ED479AB}"/>
              </a:ext>
            </a:extLst>
          </p:cNvPr>
          <p:cNvSpPr>
            <a:spLocks noGrp="1"/>
          </p:cNvSpPr>
          <p:nvPr>
            <p:ph type="body" sz="quarter" idx="24" hasCustomPrompt="1"/>
          </p:nvPr>
        </p:nvSpPr>
        <p:spPr>
          <a:xfrm>
            <a:off x="550863" y="3848266"/>
            <a:ext cx="3370262" cy="171132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8" name="Marcador de texto 7">
            <a:extLst>
              <a:ext uri="{FF2B5EF4-FFF2-40B4-BE49-F238E27FC236}">
                <a16:creationId xmlns:a16="http://schemas.microsoft.com/office/drawing/2014/main" id="{D2DA8C01-45E7-FF4A-ECD7-AD5CCA349FCF}"/>
              </a:ext>
            </a:extLst>
          </p:cNvPr>
          <p:cNvSpPr>
            <a:spLocks noGrp="1"/>
          </p:cNvSpPr>
          <p:nvPr>
            <p:ph type="body" sz="quarter" idx="13" hasCustomPrompt="1"/>
          </p:nvPr>
        </p:nvSpPr>
        <p:spPr>
          <a:xfrm>
            <a:off x="556261" y="3375392"/>
            <a:ext cx="2423160" cy="407670"/>
          </a:xfrm>
          <a:prstGeom prst="rect">
            <a:avLst/>
          </a:prstGeom>
        </p:spPr>
        <p:txBody>
          <a:bodyPr/>
          <a:lstStyle>
            <a:lvl1pPr marL="0" indent="0">
              <a:buNone/>
              <a:defRPr sz="2400" b="1" i="0">
                <a:solidFill>
                  <a:srgbClr val="0042ED"/>
                </a:solidFill>
                <a:latin typeface="Arial Narrow" panose="020B0604020202020204" pitchFamily="34" charset="0"/>
              </a:defRPr>
            </a:lvl1pPr>
          </a:lstStyle>
          <a:p>
            <a:pPr lvl="0"/>
            <a:r>
              <a:rPr lang="es-ES"/>
              <a:t>TITLE</a:t>
            </a:r>
          </a:p>
        </p:txBody>
      </p:sp>
      <p:sp>
        <p:nvSpPr>
          <p:cNvPr id="14" name="Marcador de posición de imagen 13">
            <a:extLst>
              <a:ext uri="{FF2B5EF4-FFF2-40B4-BE49-F238E27FC236}">
                <a16:creationId xmlns:a16="http://schemas.microsoft.com/office/drawing/2014/main" id="{D6A9297B-91C2-DF27-02C3-2BE0A982F38A}"/>
              </a:ext>
            </a:extLst>
          </p:cNvPr>
          <p:cNvSpPr>
            <a:spLocks noGrp="1"/>
          </p:cNvSpPr>
          <p:nvPr>
            <p:ph type="pic" sz="quarter" idx="15" hasCustomPrompt="1"/>
          </p:nvPr>
        </p:nvSpPr>
        <p:spPr>
          <a:xfrm>
            <a:off x="556261" y="1025056"/>
            <a:ext cx="3365500" cy="209391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20" name="Marcador de texto 7">
            <a:extLst>
              <a:ext uri="{FF2B5EF4-FFF2-40B4-BE49-F238E27FC236}">
                <a16:creationId xmlns:a16="http://schemas.microsoft.com/office/drawing/2014/main" id="{A7B283AB-30E4-67C6-A365-666881928522}"/>
              </a:ext>
            </a:extLst>
          </p:cNvPr>
          <p:cNvSpPr>
            <a:spLocks noGrp="1"/>
          </p:cNvSpPr>
          <p:nvPr>
            <p:ph type="body" sz="quarter" idx="18" hasCustomPrompt="1"/>
          </p:nvPr>
        </p:nvSpPr>
        <p:spPr>
          <a:xfrm>
            <a:off x="4413250" y="3375392"/>
            <a:ext cx="2423160" cy="407670"/>
          </a:xfrm>
          <a:prstGeom prst="rect">
            <a:avLst/>
          </a:prstGeom>
        </p:spPr>
        <p:txBody>
          <a:bodyPr/>
          <a:lstStyle>
            <a:lvl1pPr marL="0" indent="0">
              <a:buNone/>
              <a:defRPr sz="2400" b="1" i="0">
                <a:solidFill>
                  <a:srgbClr val="0042ED"/>
                </a:solidFill>
                <a:latin typeface="Arial Narrow" panose="020B0604020202020204" pitchFamily="34" charset="0"/>
              </a:defRPr>
            </a:lvl1pPr>
          </a:lstStyle>
          <a:p>
            <a:pPr lvl="0"/>
            <a:r>
              <a:rPr lang="es-ES"/>
              <a:t>TITLE</a:t>
            </a:r>
          </a:p>
        </p:txBody>
      </p:sp>
      <p:sp>
        <p:nvSpPr>
          <p:cNvPr id="21" name="Marcador de posición de imagen 13">
            <a:extLst>
              <a:ext uri="{FF2B5EF4-FFF2-40B4-BE49-F238E27FC236}">
                <a16:creationId xmlns:a16="http://schemas.microsoft.com/office/drawing/2014/main" id="{36CA4041-CB1A-0C86-0D4D-0414BBAA8E08}"/>
              </a:ext>
            </a:extLst>
          </p:cNvPr>
          <p:cNvSpPr>
            <a:spLocks noGrp="1"/>
          </p:cNvSpPr>
          <p:nvPr>
            <p:ph type="pic" sz="quarter" idx="19" hasCustomPrompt="1"/>
          </p:nvPr>
        </p:nvSpPr>
        <p:spPr>
          <a:xfrm>
            <a:off x="4413250" y="1025056"/>
            <a:ext cx="3365500" cy="209391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26" name="Marcador de texto 7">
            <a:extLst>
              <a:ext uri="{FF2B5EF4-FFF2-40B4-BE49-F238E27FC236}">
                <a16:creationId xmlns:a16="http://schemas.microsoft.com/office/drawing/2014/main" id="{46A5AFF3-B778-1B5D-42D3-0A09C5681BA9}"/>
              </a:ext>
            </a:extLst>
          </p:cNvPr>
          <p:cNvSpPr>
            <a:spLocks noGrp="1"/>
          </p:cNvSpPr>
          <p:nvPr>
            <p:ph type="body" sz="quarter" idx="21" hasCustomPrompt="1"/>
          </p:nvPr>
        </p:nvSpPr>
        <p:spPr>
          <a:xfrm>
            <a:off x="8276590" y="3375392"/>
            <a:ext cx="2423160" cy="407670"/>
          </a:xfrm>
          <a:prstGeom prst="rect">
            <a:avLst/>
          </a:prstGeom>
        </p:spPr>
        <p:txBody>
          <a:bodyPr/>
          <a:lstStyle>
            <a:lvl1pPr marL="0" indent="0">
              <a:buNone/>
              <a:defRPr sz="2400" b="1" i="0">
                <a:solidFill>
                  <a:srgbClr val="0042ED"/>
                </a:solidFill>
                <a:latin typeface="Arial Narrow" panose="020B0604020202020204" pitchFamily="34" charset="0"/>
              </a:defRPr>
            </a:lvl1pPr>
          </a:lstStyle>
          <a:p>
            <a:pPr lvl="0"/>
            <a:r>
              <a:rPr lang="es-ES"/>
              <a:t>TITLE</a:t>
            </a:r>
          </a:p>
        </p:txBody>
      </p:sp>
      <p:sp>
        <p:nvSpPr>
          <p:cNvPr id="27" name="Marcador de posición de imagen 13">
            <a:extLst>
              <a:ext uri="{FF2B5EF4-FFF2-40B4-BE49-F238E27FC236}">
                <a16:creationId xmlns:a16="http://schemas.microsoft.com/office/drawing/2014/main" id="{3C42BD48-6FD8-C5CA-5D6F-FBDDA58BF421}"/>
              </a:ext>
            </a:extLst>
          </p:cNvPr>
          <p:cNvSpPr>
            <a:spLocks noGrp="1"/>
          </p:cNvSpPr>
          <p:nvPr>
            <p:ph type="pic" sz="quarter" idx="22" hasCustomPrompt="1"/>
          </p:nvPr>
        </p:nvSpPr>
        <p:spPr>
          <a:xfrm>
            <a:off x="8276590" y="1025056"/>
            <a:ext cx="3365500" cy="209391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31" name="Marcador de texto 29">
            <a:extLst>
              <a:ext uri="{FF2B5EF4-FFF2-40B4-BE49-F238E27FC236}">
                <a16:creationId xmlns:a16="http://schemas.microsoft.com/office/drawing/2014/main" id="{9571420D-847D-4FD8-5848-AC249D60C0AC}"/>
              </a:ext>
            </a:extLst>
          </p:cNvPr>
          <p:cNvSpPr>
            <a:spLocks noGrp="1"/>
          </p:cNvSpPr>
          <p:nvPr>
            <p:ph type="body" sz="quarter" idx="25" hasCustomPrompt="1"/>
          </p:nvPr>
        </p:nvSpPr>
        <p:spPr>
          <a:xfrm>
            <a:off x="4414203" y="3848266"/>
            <a:ext cx="3370262" cy="171132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
        <p:nvSpPr>
          <p:cNvPr id="32" name="Marcador de texto 29">
            <a:extLst>
              <a:ext uri="{FF2B5EF4-FFF2-40B4-BE49-F238E27FC236}">
                <a16:creationId xmlns:a16="http://schemas.microsoft.com/office/drawing/2014/main" id="{B07EB063-2B74-190B-C35E-A7085AE28A2B}"/>
              </a:ext>
            </a:extLst>
          </p:cNvPr>
          <p:cNvSpPr>
            <a:spLocks noGrp="1"/>
          </p:cNvSpPr>
          <p:nvPr>
            <p:ph type="body" sz="quarter" idx="26" hasCustomPrompt="1"/>
          </p:nvPr>
        </p:nvSpPr>
        <p:spPr>
          <a:xfrm>
            <a:off x="8277543" y="3848266"/>
            <a:ext cx="3370262" cy="171132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Tree>
    <p:extLst>
      <p:ext uri="{BB962C8B-B14F-4D97-AF65-F5344CB8AC3E}">
        <p14:creationId xmlns:p14="http://schemas.microsoft.com/office/powerpoint/2010/main" val="40972167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1_Four pictures">
    <p:spTree>
      <p:nvGrpSpPr>
        <p:cNvPr id="1" name=""/>
        <p:cNvGrpSpPr/>
        <p:nvPr/>
      </p:nvGrpSpPr>
      <p:grpSpPr>
        <a:xfrm>
          <a:off x="0" y="0"/>
          <a:ext cx="0" cy="0"/>
          <a:chOff x="0" y="0"/>
          <a:chExt cx="0" cy="0"/>
        </a:xfrm>
      </p:grpSpPr>
      <p:sp>
        <p:nvSpPr>
          <p:cNvPr id="23" name="Marcador de texto 22">
            <a:extLst>
              <a:ext uri="{FF2B5EF4-FFF2-40B4-BE49-F238E27FC236}">
                <a16:creationId xmlns:a16="http://schemas.microsoft.com/office/drawing/2014/main" id="{3FEA985F-DE89-AD85-1608-3B9EF4249E41}"/>
              </a:ext>
            </a:extLst>
          </p:cNvPr>
          <p:cNvSpPr>
            <a:spLocks noGrp="1"/>
          </p:cNvSpPr>
          <p:nvPr>
            <p:ph type="body" sz="quarter" idx="27" hasCustomPrompt="1"/>
          </p:nvPr>
        </p:nvSpPr>
        <p:spPr>
          <a:xfrm>
            <a:off x="3400425" y="1760220"/>
            <a:ext cx="2268538" cy="133667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8" name="Marcador de texto 7">
            <a:extLst>
              <a:ext uri="{FF2B5EF4-FFF2-40B4-BE49-F238E27FC236}">
                <a16:creationId xmlns:a16="http://schemas.microsoft.com/office/drawing/2014/main" id="{D2DA8C01-45E7-FF4A-ECD7-AD5CCA349FCF}"/>
              </a:ext>
            </a:extLst>
          </p:cNvPr>
          <p:cNvSpPr>
            <a:spLocks noGrp="1"/>
          </p:cNvSpPr>
          <p:nvPr>
            <p:ph type="body" sz="quarter" idx="13" hasCustomPrompt="1"/>
          </p:nvPr>
        </p:nvSpPr>
        <p:spPr>
          <a:xfrm>
            <a:off x="3400418" y="1336042"/>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4" name="Marcador de posición de imagen 13">
            <a:extLst>
              <a:ext uri="{FF2B5EF4-FFF2-40B4-BE49-F238E27FC236}">
                <a16:creationId xmlns:a16="http://schemas.microsoft.com/office/drawing/2014/main" id="{D6A9297B-91C2-DF27-02C3-2BE0A982F38A}"/>
              </a:ext>
            </a:extLst>
          </p:cNvPr>
          <p:cNvSpPr>
            <a:spLocks noGrp="1"/>
          </p:cNvSpPr>
          <p:nvPr>
            <p:ph type="pic" sz="quarter" idx="15" hasCustomPrompt="1"/>
          </p:nvPr>
        </p:nvSpPr>
        <p:spPr>
          <a:xfrm>
            <a:off x="659799" y="1336042"/>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5" name="Marcador de texto 7">
            <a:extLst>
              <a:ext uri="{FF2B5EF4-FFF2-40B4-BE49-F238E27FC236}">
                <a16:creationId xmlns:a16="http://schemas.microsoft.com/office/drawing/2014/main" id="{E6BECD04-A1F9-8D50-A19A-2AFE94BC06CE}"/>
              </a:ext>
            </a:extLst>
          </p:cNvPr>
          <p:cNvSpPr>
            <a:spLocks noGrp="1"/>
          </p:cNvSpPr>
          <p:nvPr>
            <p:ph type="body" sz="quarter" idx="18" hasCustomPrompt="1"/>
          </p:nvPr>
        </p:nvSpPr>
        <p:spPr>
          <a:xfrm>
            <a:off x="9267818" y="1336042"/>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0" name="Marcador de posición de imagen 13">
            <a:extLst>
              <a:ext uri="{FF2B5EF4-FFF2-40B4-BE49-F238E27FC236}">
                <a16:creationId xmlns:a16="http://schemas.microsoft.com/office/drawing/2014/main" id="{1E30E956-F138-9F7F-6574-5633959C5D29}"/>
              </a:ext>
            </a:extLst>
          </p:cNvPr>
          <p:cNvSpPr>
            <a:spLocks noGrp="1"/>
          </p:cNvSpPr>
          <p:nvPr>
            <p:ph type="pic" sz="quarter" idx="20" hasCustomPrompt="1"/>
          </p:nvPr>
        </p:nvSpPr>
        <p:spPr>
          <a:xfrm>
            <a:off x="6527199" y="1336042"/>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1" name="Marcador de texto 7">
            <a:extLst>
              <a:ext uri="{FF2B5EF4-FFF2-40B4-BE49-F238E27FC236}">
                <a16:creationId xmlns:a16="http://schemas.microsoft.com/office/drawing/2014/main" id="{966F6D46-515E-B14D-215D-4370A801E3DA}"/>
              </a:ext>
            </a:extLst>
          </p:cNvPr>
          <p:cNvSpPr>
            <a:spLocks noGrp="1"/>
          </p:cNvSpPr>
          <p:nvPr>
            <p:ph type="body" sz="quarter" idx="21" hasCustomPrompt="1"/>
          </p:nvPr>
        </p:nvSpPr>
        <p:spPr>
          <a:xfrm>
            <a:off x="3400418" y="3614422"/>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3" name="Marcador de posición de imagen 13">
            <a:extLst>
              <a:ext uri="{FF2B5EF4-FFF2-40B4-BE49-F238E27FC236}">
                <a16:creationId xmlns:a16="http://schemas.microsoft.com/office/drawing/2014/main" id="{6C46B8A6-274C-24B1-5C62-27C1923DA054}"/>
              </a:ext>
            </a:extLst>
          </p:cNvPr>
          <p:cNvSpPr>
            <a:spLocks noGrp="1"/>
          </p:cNvSpPr>
          <p:nvPr>
            <p:ph type="pic" sz="quarter" idx="23" hasCustomPrompt="1"/>
          </p:nvPr>
        </p:nvSpPr>
        <p:spPr>
          <a:xfrm>
            <a:off x="659799" y="3614422"/>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5" name="Marcador de texto 7">
            <a:extLst>
              <a:ext uri="{FF2B5EF4-FFF2-40B4-BE49-F238E27FC236}">
                <a16:creationId xmlns:a16="http://schemas.microsoft.com/office/drawing/2014/main" id="{460904DC-4203-67F1-976D-9AA40D7E17DA}"/>
              </a:ext>
            </a:extLst>
          </p:cNvPr>
          <p:cNvSpPr>
            <a:spLocks noGrp="1"/>
          </p:cNvSpPr>
          <p:nvPr>
            <p:ph type="body" sz="quarter" idx="24" hasCustomPrompt="1"/>
          </p:nvPr>
        </p:nvSpPr>
        <p:spPr>
          <a:xfrm>
            <a:off x="9267818" y="3614422"/>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7" name="Marcador de posición de imagen 13">
            <a:extLst>
              <a:ext uri="{FF2B5EF4-FFF2-40B4-BE49-F238E27FC236}">
                <a16:creationId xmlns:a16="http://schemas.microsoft.com/office/drawing/2014/main" id="{D464218E-BAF7-13D5-572A-DE1EDCBCEF0E}"/>
              </a:ext>
            </a:extLst>
          </p:cNvPr>
          <p:cNvSpPr>
            <a:spLocks noGrp="1"/>
          </p:cNvSpPr>
          <p:nvPr>
            <p:ph type="pic" sz="quarter" idx="26" hasCustomPrompt="1"/>
          </p:nvPr>
        </p:nvSpPr>
        <p:spPr>
          <a:xfrm>
            <a:off x="6527199" y="3614422"/>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24" name="Marcador de texto 22">
            <a:extLst>
              <a:ext uri="{FF2B5EF4-FFF2-40B4-BE49-F238E27FC236}">
                <a16:creationId xmlns:a16="http://schemas.microsoft.com/office/drawing/2014/main" id="{5A48AF4B-2734-8E8E-EE54-7A93236897AE}"/>
              </a:ext>
            </a:extLst>
          </p:cNvPr>
          <p:cNvSpPr>
            <a:spLocks noGrp="1"/>
          </p:cNvSpPr>
          <p:nvPr>
            <p:ph type="body" sz="quarter" idx="28" hasCustomPrompt="1"/>
          </p:nvPr>
        </p:nvSpPr>
        <p:spPr>
          <a:xfrm>
            <a:off x="9267825" y="1760220"/>
            <a:ext cx="2268538" cy="133667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25" name="Marcador de texto 22">
            <a:extLst>
              <a:ext uri="{FF2B5EF4-FFF2-40B4-BE49-F238E27FC236}">
                <a16:creationId xmlns:a16="http://schemas.microsoft.com/office/drawing/2014/main" id="{1EAED57B-DD02-EF62-A7F4-D37273E42E76}"/>
              </a:ext>
            </a:extLst>
          </p:cNvPr>
          <p:cNvSpPr>
            <a:spLocks noGrp="1"/>
          </p:cNvSpPr>
          <p:nvPr>
            <p:ph type="body" sz="quarter" idx="29" hasCustomPrompt="1"/>
          </p:nvPr>
        </p:nvSpPr>
        <p:spPr>
          <a:xfrm>
            <a:off x="3400425" y="4038600"/>
            <a:ext cx="2268538" cy="133667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29" name="Marcador de texto 22">
            <a:extLst>
              <a:ext uri="{FF2B5EF4-FFF2-40B4-BE49-F238E27FC236}">
                <a16:creationId xmlns:a16="http://schemas.microsoft.com/office/drawing/2014/main" id="{DF2D2EB0-3B6F-BC69-10E1-11EBDB4D0FF2}"/>
              </a:ext>
            </a:extLst>
          </p:cNvPr>
          <p:cNvSpPr>
            <a:spLocks noGrp="1"/>
          </p:cNvSpPr>
          <p:nvPr>
            <p:ph type="body" sz="quarter" idx="30" hasCustomPrompt="1"/>
          </p:nvPr>
        </p:nvSpPr>
        <p:spPr>
          <a:xfrm>
            <a:off x="9267825" y="4038600"/>
            <a:ext cx="2268538" cy="1336675"/>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Tree>
    <p:extLst>
      <p:ext uri="{BB962C8B-B14F-4D97-AF65-F5344CB8AC3E}">
        <p14:creationId xmlns:p14="http://schemas.microsoft.com/office/powerpoint/2010/main" val="1981403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2_Six pictures">
    <p:spTree>
      <p:nvGrpSpPr>
        <p:cNvPr id="1" name=""/>
        <p:cNvGrpSpPr/>
        <p:nvPr/>
      </p:nvGrpSpPr>
      <p:grpSpPr>
        <a:xfrm>
          <a:off x="0" y="0"/>
          <a:ext cx="0" cy="0"/>
          <a:chOff x="0" y="0"/>
          <a:chExt cx="0" cy="0"/>
        </a:xfrm>
      </p:grpSpPr>
      <p:sp>
        <p:nvSpPr>
          <p:cNvPr id="23" name="Marcador de texto 22">
            <a:extLst>
              <a:ext uri="{FF2B5EF4-FFF2-40B4-BE49-F238E27FC236}">
                <a16:creationId xmlns:a16="http://schemas.microsoft.com/office/drawing/2014/main" id="{3FEA985F-DE89-AD85-1608-3B9EF4249E41}"/>
              </a:ext>
            </a:extLst>
          </p:cNvPr>
          <p:cNvSpPr>
            <a:spLocks noGrp="1"/>
          </p:cNvSpPr>
          <p:nvPr>
            <p:ph type="body" sz="quarter" idx="27" hasCustomPrompt="1"/>
          </p:nvPr>
        </p:nvSpPr>
        <p:spPr>
          <a:xfrm>
            <a:off x="3400425" y="1161324"/>
            <a:ext cx="2268538" cy="1121649"/>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8" name="Marcador de texto 7">
            <a:extLst>
              <a:ext uri="{FF2B5EF4-FFF2-40B4-BE49-F238E27FC236}">
                <a16:creationId xmlns:a16="http://schemas.microsoft.com/office/drawing/2014/main" id="{D2DA8C01-45E7-FF4A-ECD7-AD5CCA349FCF}"/>
              </a:ext>
            </a:extLst>
          </p:cNvPr>
          <p:cNvSpPr>
            <a:spLocks noGrp="1"/>
          </p:cNvSpPr>
          <p:nvPr>
            <p:ph type="body" sz="quarter" idx="13" hasCustomPrompt="1"/>
          </p:nvPr>
        </p:nvSpPr>
        <p:spPr>
          <a:xfrm>
            <a:off x="3400418" y="737146"/>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4" name="Marcador de posición de imagen 13">
            <a:extLst>
              <a:ext uri="{FF2B5EF4-FFF2-40B4-BE49-F238E27FC236}">
                <a16:creationId xmlns:a16="http://schemas.microsoft.com/office/drawing/2014/main" id="{D6A9297B-91C2-DF27-02C3-2BE0A982F38A}"/>
              </a:ext>
            </a:extLst>
          </p:cNvPr>
          <p:cNvSpPr>
            <a:spLocks noGrp="1"/>
          </p:cNvSpPr>
          <p:nvPr>
            <p:ph type="pic" sz="quarter" idx="15" hasCustomPrompt="1"/>
          </p:nvPr>
        </p:nvSpPr>
        <p:spPr>
          <a:xfrm>
            <a:off x="659799" y="737146"/>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5" name="Marcador de texto 7">
            <a:extLst>
              <a:ext uri="{FF2B5EF4-FFF2-40B4-BE49-F238E27FC236}">
                <a16:creationId xmlns:a16="http://schemas.microsoft.com/office/drawing/2014/main" id="{E6BECD04-A1F9-8D50-A19A-2AFE94BC06CE}"/>
              </a:ext>
            </a:extLst>
          </p:cNvPr>
          <p:cNvSpPr>
            <a:spLocks noGrp="1"/>
          </p:cNvSpPr>
          <p:nvPr>
            <p:ph type="body" sz="quarter" idx="18" hasCustomPrompt="1"/>
          </p:nvPr>
        </p:nvSpPr>
        <p:spPr>
          <a:xfrm>
            <a:off x="9267818" y="737146"/>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0" name="Marcador de posición de imagen 13">
            <a:extLst>
              <a:ext uri="{FF2B5EF4-FFF2-40B4-BE49-F238E27FC236}">
                <a16:creationId xmlns:a16="http://schemas.microsoft.com/office/drawing/2014/main" id="{1E30E956-F138-9F7F-6574-5633959C5D29}"/>
              </a:ext>
            </a:extLst>
          </p:cNvPr>
          <p:cNvSpPr>
            <a:spLocks noGrp="1"/>
          </p:cNvSpPr>
          <p:nvPr>
            <p:ph type="pic" sz="quarter" idx="20" hasCustomPrompt="1"/>
          </p:nvPr>
        </p:nvSpPr>
        <p:spPr>
          <a:xfrm>
            <a:off x="6527199" y="737146"/>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1" name="Marcador de texto 7">
            <a:extLst>
              <a:ext uri="{FF2B5EF4-FFF2-40B4-BE49-F238E27FC236}">
                <a16:creationId xmlns:a16="http://schemas.microsoft.com/office/drawing/2014/main" id="{966F6D46-515E-B14D-215D-4370A801E3DA}"/>
              </a:ext>
            </a:extLst>
          </p:cNvPr>
          <p:cNvSpPr>
            <a:spLocks noGrp="1"/>
          </p:cNvSpPr>
          <p:nvPr>
            <p:ph type="body" sz="quarter" idx="21" hasCustomPrompt="1"/>
          </p:nvPr>
        </p:nvSpPr>
        <p:spPr>
          <a:xfrm>
            <a:off x="3400418" y="2593464"/>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3" name="Marcador de posición de imagen 13">
            <a:extLst>
              <a:ext uri="{FF2B5EF4-FFF2-40B4-BE49-F238E27FC236}">
                <a16:creationId xmlns:a16="http://schemas.microsoft.com/office/drawing/2014/main" id="{6C46B8A6-274C-24B1-5C62-27C1923DA054}"/>
              </a:ext>
            </a:extLst>
          </p:cNvPr>
          <p:cNvSpPr>
            <a:spLocks noGrp="1"/>
          </p:cNvSpPr>
          <p:nvPr>
            <p:ph type="pic" sz="quarter" idx="23" hasCustomPrompt="1"/>
          </p:nvPr>
        </p:nvSpPr>
        <p:spPr>
          <a:xfrm>
            <a:off x="659799" y="2593464"/>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5" name="Marcador de texto 7">
            <a:extLst>
              <a:ext uri="{FF2B5EF4-FFF2-40B4-BE49-F238E27FC236}">
                <a16:creationId xmlns:a16="http://schemas.microsoft.com/office/drawing/2014/main" id="{460904DC-4203-67F1-976D-9AA40D7E17DA}"/>
              </a:ext>
            </a:extLst>
          </p:cNvPr>
          <p:cNvSpPr>
            <a:spLocks noGrp="1"/>
          </p:cNvSpPr>
          <p:nvPr>
            <p:ph type="body" sz="quarter" idx="24" hasCustomPrompt="1"/>
          </p:nvPr>
        </p:nvSpPr>
        <p:spPr>
          <a:xfrm>
            <a:off x="9267818" y="2593464"/>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17" name="Marcador de posición de imagen 13">
            <a:extLst>
              <a:ext uri="{FF2B5EF4-FFF2-40B4-BE49-F238E27FC236}">
                <a16:creationId xmlns:a16="http://schemas.microsoft.com/office/drawing/2014/main" id="{D464218E-BAF7-13D5-572A-DE1EDCBCEF0E}"/>
              </a:ext>
            </a:extLst>
          </p:cNvPr>
          <p:cNvSpPr>
            <a:spLocks noGrp="1"/>
          </p:cNvSpPr>
          <p:nvPr>
            <p:ph type="pic" sz="quarter" idx="26" hasCustomPrompt="1"/>
          </p:nvPr>
        </p:nvSpPr>
        <p:spPr>
          <a:xfrm>
            <a:off x="6527199" y="2593464"/>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24" name="Marcador de texto 22">
            <a:extLst>
              <a:ext uri="{FF2B5EF4-FFF2-40B4-BE49-F238E27FC236}">
                <a16:creationId xmlns:a16="http://schemas.microsoft.com/office/drawing/2014/main" id="{5A48AF4B-2734-8E8E-EE54-7A93236897AE}"/>
              </a:ext>
            </a:extLst>
          </p:cNvPr>
          <p:cNvSpPr>
            <a:spLocks noGrp="1"/>
          </p:cNvSpPr>
          <p:nvPr>
            <p:ph type="body" sz="quarter" idx="28" hasCustomPrompt="1"/>
          </p:nvPr>
        </p:nvSpPr>
        <p:spPr>
          <a:xfrm>
            <a:off x="9267825" y="1161324"/>
            <a:ext cx="2268538" cy="1121649"/>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25" name="Marcador de texto 22">
            <a:extLst>
              <a:ext uri="{FF2B5EF4-FFF2-40B4-BE49-F238E27FC236}">
                <a16:creationId xmlns:a16="http://schemas.microsoft.com/office/drawing/2014/main" id="{1EAED57B-DD02-EF62-A7F4-D37273E42E76}"/>
              </a:ext>
            </a:extLst>
          </p:cNvPr>
          <p:cNvSpPr>
            <a:spLocks noGrp="1"/>
          </p:cNvSpPr>
          <p:nvPr>
            <p:ph type="body" sz="quarter" idx="29" hasCustomPrompt="1"/>
          </p:nvPr>
        </p:nvSpPr>
        <p:spPr>
          <a:xfrm>
            <a:off x="3400425" y="3017642"/>
            <a:ext cx="2268538" cy="1124611"/>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29" name="Marcador de texto 22">
            <a:extLst>
              <a:ext uri="{FF2B5EF4-FFF2-40B4-BE49-F238E27FC236}">
                <a16:creationId xmlns:a16="http://schemas.microsoft.com/office/drawing/2014/main" id="{DF2D2EB0-3B6F-BC69-10E1-11EBDB4D0FF2}"/>
              </a:ext>
            </a:extLst>
          </p:cNvPr>
          <p:cNvSpPr>
            <a:spLocks noGrp="1"/>
          </p:cNvSpPr>
          <p:nvPr>
            <p:ph type="body" sz="quarter" idx="30" hasCustomPrompt="1"/>
          </p:nvPr>
        </p:nvSpPr>
        <p:spPr>
          <a:xfrm>
            <a:off x="9267825" y="3017642"/>
            <a:ext cx="2268538" cy="1124611"/>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2" name="Marcador de texto 7">
            <a:extLst>
              <a:ext uri="{FF2B5EF4-FFF2-40B4-BE49-F238E27FC236}">
                <a16:creationId xmlns:a16="http://schemas.microsoft.com/office/drawing/2014/main" id="{E5B31671-1685-12FE-83CE-5BB6BE709F7C}"/>
              </a:ext>
            </a:extLst>
          </p:cNvPr>
          <p:cNvSpPr>
            <a:spLocks noGrp="1"/>
          </p:cNvSpPr>
          <p:nvPr>
            <p:ph type="body" sz="quarter" idx="31" hasCustomPrompt="1"/>
          </p:nvPr>
        </p:nvSpPr>
        <p:spPr>
          <a:xfrm>
            <a:off x="3400418" y="4452744"/>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3" name="Marcador de posición de imagen 13">
            <a:extLst>
              <a:ext uri="{FF2B5EF4-FFF2-40B4-BE49-F238E27FC236}">
                <a16:creationId xmlns:a16="http://schemas.microsoft.com/office/drawing/2014/main" id="{2A677601-160F-F3DD-D9BE-44D17F6E5A36}"/>
              </a:ext>
            </a:extLst>
          </p:cNvPr>
          <p:cNvSpPr>
            <a:spLocks noGrp="1"/>
          </p:cNvSpPr>
          <p:nvPr>
            <p:ph type="pic" sz="quarter" idx="32" hasCustomPrompt="1"/>
          </p:nvPr>
        </p:nvSpPr>
        <p:spPr>
          <a:xfrm>
            <a:off x="659799" y="4452744"/>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4" name="Marcador de texto 7">
            <a:extLst>
              <a:ext uri="{FF2B5EF4-FFF2-40B4-BE49-F238E27FC236}">
                <a16:creationId xmlns:a16="http://schemas.microsoft.com/office/drawing/2014/main" id="{E203A1BD-627D-C1DD-8454-0057AEEA3624}"/>
              </a:ext>
            </a:extLst>
          </p:cNvPr>
          <p:cNvSpPr>
            <a:spLocks noGrp="1"/>
          </p:cNvSpPr>
          <p:nvPr>
            <p:ph type="body" sz="quarter" idx="33" hasCustomPrompt="1"/>
          </p:nvPr>
        </p:nvSpPr>
        <p:spPr>
          <a:xfrm>
            <a:off x="9267818" y="4452744"/>
            <a:ext cx="2268843" cy="367464"/>
          </a:xfrm>
          <a:prstGeom prst="rect">
            <a:avLst/>
          </a:prstGeom>
        </p:spPr>
        <p:txBody>
          <a:bodyPr/>
          <a:lstStyle>
            <a:lvl1pPr marL="0" indent="0">
              <a:buNone/>
              <a:defRPr sz="1800" b="1" i="0">
                <a:solidFill>
                  <a:srgbClr val="0042ED"/>
                </a:solidFill>
                <a:latin typeface="Arial Narrow" panose="020B0604020202020204" pitchFamily="34" charset="0"/>
              </a:defRPr>
            </a:lvl1pPr>
          </a:lstStyle>
          <a:p>
            <a:pPr lvl="0"/>
            <a:r>
              <a:rPr lang="es-ES"/>
              <a:t>TITLE</a:t>
            </a:r>
          </a:p>
        </p:txBody>
      </p:sp>
      <p:sp>
        <p:nvSpPr>
          <p:cNvPr id="9" name="Marcador de posición de imagen 13">
            <a:extLst>
              <a:ext uri="{FF2B5EF4-FFF2-40B4-BE49-F238E27FC236}">
                <a16:creationId xmlns:a16="http://schemas.microsoft.com/office/drawing/2014/main" id="{9BDD2987-3D3C-18D1-6EC5-695862810283}"/>
              </a:ext>
            </a:extLst>
          </p:cNvPr>
          <p:cNvSpPr>
            <a:spLocks noGrp="1"/>
          </p:cNvSpPr>
          <p:nvPr>
            <p:ph type="pic" sz="quarter" idx="34" hasCustomPrompt="1"/>
          </p:nvPr>
        </p:nvSpPr>
        <p:spPr>
          <a:xfrm>
            <a:off x="6527199" y="4452744"/>
            <a:ext cx="2490387" cy="1548789"/>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2" name="Marcador de texto 22">
            <a:extLst>
              <a:ext uri="{FF2B5EF4-FFF2-40B4-BE49-F238E27FC236}">
                <a16:creationId xmlns:a16="http://schemas.microsoft.com/office/drawing/2014/main" id="{DA960E9E-6F16-BA1E-CBC7-8A84A3E983B8}"/>
              </a:ext>
            </a:extLst>
          </p:cNvPr>
          <p:cNvSpPr>
            <a:spLocks noGrp="1"/>
          </p:cNvSpPr>
          <p:nvPr>
            <p:ph type="body" sz="quarter" idx="35" hasCustomPrompt="1"/>
          </p:nvPr>
        </p:nvSpPr>
        <p:spPr>
          <a:xfrm>
            <a:off x="3400425" y="4876922"/>
            <a:ext cx="2268538" cy="1124611"/>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16" name="Marcador de texto 22">
            <a:extLst>
              <a:ext uri="{FF2B5EF4-FFF2-40B4-BE49-F238E27FC236}">
                <a16:creationId xmlns:a16="http://schemas.microsoft.com/office/drawing/2014/main" id="{60B5C859-4FF8-6905-BB8D-2BAA36CD1A2A}"/>
              </a:ext>
            </a:extLst>
          </p:cNvPr>
          <p:cNvSpPr>
            <a:spLocks noGrp="1"/>
          </p:cNvSpPr>
          <p:nvPr>
            <p:ph type="body" sz="quarter" idx="36" hasCustomPrompt="1"/>
          </p:nvPr>
        </p:nvSpPr>
        <p:spPr>
          <a:xfrm>
            <a:off x="9267825" y="4876922"/>
            <a:ext cx="2268538" cy="1124611"/>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Tree>
    <p:extLst>
      <p:ext uri="{BB962C8B-B14F-4D97-AF65-F5344CB8AC3E}">
        <p14:creationId xmlns:p14="http://schemas.microsoft.com/office/powerpoint/2010/main" val="31170446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30_Figures">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3" name="Marcador de texto 2">
            <a:extLst>
              <a:ext uri="{FF2B5EF4-FFF2-40B4-BE49-F238E27FC236}">
                <a16:creationId xmlns:a16="http://schemas.microsoft.com/office/drawing/2014/main" id="{523070DD-B07F-EC0C-2D8B-FF1FE31BA7E6}"/>
              </a:ext>
            </a:extLst>
          </p:cNvPr>
          <p:cNvSpPr>
            <a:spLocks noGrp="1"/>
          </p:cNvSpPr>
          <p:nvPr>
            <p:ph type="body" sz="quarter" idx="17" hasCustomPrompt="1"/>
          </p:nvPr>
        </p:nvSpPr>
        <p:spPr>
          <a:xfrm>
            <a:off x="682449" y="2822209"/>
            <a:ext cx="1067612"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8" name="Conector recto 7">
            <a:extLst>
              <a:ext uri="{FF2B5EF4-FFF2-40B4-BE49-F238E27FC236}">
                <a16:creationId xmlns:a16="http://schemas.microsoft.com/office/drawing/2014/main" id="{60819FF9-F969-F310-F559-904E97DCEAAA}"/>
              </a:ext>
            </a:extLst>
          </p:cNvPr>
          <p:cNvCxnSpPr>
            <a:cxnSpLocks/>
          </p:cNvCxnSpPr>
          <p:nvPr userDrawn="1"/>
        </p:nvCxnSpPr>
        <p:spPr>
          <a:xfrm>
            <a:off x="555308" y="2616469"/>
            <a:ext cx="0" cy="3009900"/>
          </a:xfrm>
          <a:prstGeom prst="line">
            <a:avLst/>
          </a:prstGeom>
          <a:ln w="12700"/>
        </p:spPr>
        <p:style>
          <a:lnRef idx="2">
            <a:schemeClr val="dk1"/>
          </a:lnRef>
          <a:fillRef idx="0">
            <a:schemeClr val="dk1"/>
          </a:fillRef>
          <a:effectRef idx="1">
            <a:schemeClr val="dk1"/>
          </a:effectRef>
          <a:fontRef idx="minor">
            <a:schemeClr val="tx1"/>
          </a:fontRef>
        </p:style>
      </p:cxnSp>
      <p:sp>
        <p:nvSpPr>
          <p:cNvPr id="16" name="Marcador de texto 2">
            <a:extLst>
              <a:ext uri="{FF2B5EF4-FFF2-40B4-BE49-F238E27FC236}">
                <a16:creationId xmlns:a16="http://schemas.microsoft.com/office/drawing/2014/main" id="{DFB9C5BD-222F-9BAE-88D9-8B4A34CE9F80}"/>
              </a:ext>
            </a:extLst>
          </p:cNvPr>
          <p:cNvSpPr>
            <a:spLocks noGrp="1"/>
          </p:cNvSpPr>
          <p:nvPr>
            <p:ph type="body" sz="quarter" idx="18" hasCustomPrompt="1"/>
          </p:nvPr>
        </p:nvSpPr>
        <p:spPr>
          <a:xfrm>
            <a:off x="682448" y="4437649"/>
            <a:ext cx="2294419" cy="998220"/>
          </a:xfrm>
          <a:prstGeom prst="rect">
            <a:avLst/>
          </a:prstGeom>
        </p:spPr>
        <p:txBody>
          <a:bodyPr anchor="b"/>
          <a:lstStyle>
            <a:lvl1pPr marL="0" indent="0">
              <a:buNone/>
              <a:defRPr sz="8000" b="1" i="0">
                <a:solidFill>
                  <a:srgbClr val="0042ED"/>
                </a:solidFill>
                <a:latin typeface="Arial Narrow" panose="020B0604020202020204" pitchFamily="34" charset="0"/>
                <a:cs typeface="Graphik Medium" pitchFamily="2" charset="77"/>
              </a:defRPr>
            </a:lvl1pPr>
          </a:lstStyle>
          <a:p>
            <a:pPr lvl="0"/>
            <a:r>
              <a:rPr lang="es-ES"/>
              <a:t>4.3K</a:t>
            </a:r>
          </a:p>
        </p:txBody>
      </p:sp>
      <p:sp>
        <p:nvSpPr>
          <p:cNvPr id="18" name="Marcador de texto 2">
            <a:extLst>
              <a:ext uri="{FF2B5EF4-FFF2-40B4-BE49-F238E27FC236}">
                <a16:creationId xmlns:a16="http://schemas.microsoft.com/office/drawing/2014/main" id="{2F79BBD8-FD79-6894-3428-9F05665813F5}"/>
              </a:ext>
            </a:extLst>
          </p:cNvPr>
          <p:cNvSpPr>
            <a:spLocks noGrp="1"/>
          </p:cNvSpPr>
          <p:nvPr>
            <p:ph type="body" sz="quarter" idx="19" hasCustomPrompt="1"/>
          </p:nvPr>
        </p:nvSpPr>
        <p:spPr>
          <a:xfrm>
            <a:off x="3593289" y="2822209"/>
            <a:ext cx="1067612"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19" name="Conector recto 18">
            <a:extLst>
              <a:ext uri="{FF2B5EF4-FFF2-40B4-BE49-F238E27FC236}">
                <a16:creationId xmlns:a16="http://schemas.microsoft.com/office/drawing/2014/main" id="{71949490-10BA-63F0-3A1E-996004EB8021}"/>
              </a:ext>
            </a:extLst>
          </p:cNvPr>
          <p:cNvCxnSpPr>
            <a:cxnSpLocks/>
          </p:cNvCxnSpPr>
          <p:nvPr userDrawn="1"/>
        </p:nvCxnSpPr>
        <p:spPr>
          <a:xfrm>
            <a:off x="3466148" y="2616469"/>
            <a:ext cx="0" cy="3009900"/>
          </a:xfrm>
          <a:prstGeom prst="line">
            <a:avLst/>
          </a:prstGeom>
          <a:ln w="12700"/>
        </p:spPr>
        <p:style>
          <a:lnRef idx="2">
            <a:schemeClr val="dk1"/>
          </a:lnRef>
          <a:fillRef idx="0">
            <a:schemeClr val="dk1"/>
          </a:fillRef>
          <a:effectRef idx="1">
            <a:schemeClr val="dk1"/>
          </a:effectRef>
          <a:fontRef idx="minor">
            <a:schemeClr val="tx1"/>
          </a:fontRef>
        </p:style>
      </p:cxnSp>
      <p:sp>
        <p:nvSpPr>
          <p:cNvPr id="20" name="Marcador de texto 2">
            <a:extLst>
              <a:ext uri="{FF2B5EF4-FFF2-40B4-BE49-F238E27FC236}">
                <a16:creationId xmlns:a16="http://schemas.microsoft.com/office/drawing/2014/main" id="{BCDB9CED-75DA-F231-9853-30EA5679F2FD}"/>
              </a:ext>
            </a:extLst>
          </p:cNvPr>
          <p:cNvSpPr>
            <a:spLocks noGrp="1"/>
          </p:cNvSpPr>
          <p:nvPr>
            <p:ph type="body" sz="quarter" idx="20" hasCustomPrompt="1"/>
          </p:nvPr>
        </p:nvSpPr>
        <p:spPr>
          <a:xfrm>
            <a:off x="3593288" y="4437649"/>
            <a:ext cx="2294419" cy="998220"/>
          </a:xfrm>
          <a:prstGeom prst="rect">
            <a:avLst/>
          </a:prstGeom>
        </p:spPr>
        <p:txBody>
          <a:bodyPr anchor="b"/>
          <a:lstStyle>
            <a:lvl1pPr marL="0" indent="0">
              <a:buNone/>
              <a:defRPr sz="8000" b="1" i="0">
                <a:solidFill>
                  <a:srgbClr val="0042ED"/>
                </a:solidFill>
                <a:latin typeface="Arial Narrow" panose="020B0604020202020204" pitchFamily="34" charset="0"/>
                <a:cs typeface="Graphik Medium" pitchFamily="2" charset="77"/>
              </a:defRPr>
            </a:lvl1pPr>
          </a:lstStyle>
          <a:p>
            <a:pPr lvl="0"/>
            <a:r>
              <a:rPr lang="es-ES"/>
              <a:t>4.3K</a:t>
            </a:r>
          </a:p>
        </p:txBody>
      </p:sp>
      <p:sp>
        <p:nvSpPr>
          <p:cNvPr id="33" name="Marcador de texto 2">
            <a:extLst>
              <a:ext uri="{FF2B5EF4-FFF2-40B4-BE49-F238E27FC236}">
                <a16:creationId xmlns:a16="http://schemas.microsoft.com/office/drawing/2014/main" id="{A4D4B387-2E8E-A517-0787-5736719FE1E0}"/>
              </a:ext>
            </a:extLst>
          </p:cNvPr>
          <p:cNvSpPr>
            <a:spLocks noGrp="1"/>
          </p:cNvSpPr>
          <p:nvPr>
            <p:ph type="body" sz="quarter" idx="21" hasCustomPrompt="1"/>
          </p:nvPr>
        </p:nvSpPr>
        <p:spPr>
          <a:xfrm>
            <a:off x="6488889" y="2822209"/>
            <a:ext cx="1067612"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34" name="Conector recto 33">
            <a:extLst>
              <a:ext uri="{FF2B5EF4-FFF2-40B4-BE49-F238E27FC236}">
                <a16:creationId xmlns:a16="http://schemas.microsoft.com/office/drawing/2014/main" id="{0FFECE41-B36B-E972-702A-7063853E3185}"/>
              </a:ext>
            </a:extLst>
          </p:cNvPr>
          <p:cNvCxnSpPr>
            <a:cxnSpLocks/>
          </p:cNvCxnSpPr>
          <p:nvPr userDrawn="1"/>
        </p:nvCxnSpPr>
        <p:spPr>
          <a:xfrm>
            <a:off x="6361748" y="2616469"/>
            <a:ext cx="0" cy="3009900"/>
          </a:xfrm>
          <a:prstGeom prst="line">
            <a:avLst/>
          </a:prstGeom>
          <a:ln w="12700"/>
        </p:spPr>
        <p:style>
          <a:lnRef idx="2">
            <a:schemeClr val="dk1"/>
          </a:lnRef>
          <a:fillRef idx="0">
            <a:schemeClr val="dk1"/>
          </a:fillRef>
          <a:effectRef idx="1">
            <a:schemeClr val="dk1"/>
          </a:effectRef>
          <a:fontRef idx="minor">
            <a:schemeClr val="tx1"/>
          </a:fontRef>
        </p:style>
      </p:cxnSp>
      <p:sp>
        <p:nvSpPr>
          <p:cNvPr id="35" name="Marcador de texto 2">
            <a:extLst>
              <a:ext uri="{FF2B5EF4-FFF2-40B4-BE49-F238E27FC236}">
                <a16:creationId xmlns:a16="http://schemas.microsoft.com/office/drawing/2014/main" id="{A2DF968C-0896-1259-BD23-DB3E355BFEBF}"/>
              </a:ext>
            </a:extLst>
          </p:cNvPr>
          <p:cNvSpPr>
            <a:spLocks noGrp="1"/>
          </p:cNvSpPr>
          <p:nvPr>
            <p:ph type="body" sz="quarter" idx="22" hasCustomPrompt="1"/>
          </p:nvPr>
        </p:nvSpPr>
        <p:spPr>
          <a:xfrm>
            <a:off x="6488888" y="4437649"/>
            <a:ext cx="2294419" cy="998220"/>
          </a:xfrm>
          <a:prstGeom prst="rect">
            <a:avLst/>
          </a:prstGeom>
        </p:spPr>
        <p:txBody>
          <a:bodyPr anchor="b"/>
          <a:lstStyle>
            <a:lvl1pPr marL="0" indent="0">
              <a:buNone/>
              <a:defRPr sz="8000" b="1" i="0">
                <a:solidFill>
                  <a:srgbClr val="0042ED"/>
                </a:solidFill>
                <a:latin typeface="Arial Narrow" panose="020B0604020202020204" pitchFamily="34" charset="0"/>
                <a:cs typeface="Graphik Medium" pitchFamily="2" charset="77"/>
              </a:defRPr>
            </a:lvl1pPr>
          </a:lstStyle>
          <a:p>
            <a:pPr lvl="0"/>
            <a:r>
              <a:rPr lang="es-ES"/>
              <a:t>4.3K</a:t>
            </a:r>
          </a:p>
        </p:txBody>
      </p:sp>
      <p:sp>
        <p:nvSpPr>
          <p:cNvPr id="36" name="Marcador de texto 2">
            <a:extLst>
              <a:ext uri="{FF2B5EF4-FFF2-40B4-BE49-F238E27FC236}">
                <a16:creationId xmlns:a16="http://schemas.microsoft.com/office/drawing/2014/main" id="{4CB3EFAC-6BB8-35AB-C422-57BA98EB53F6}"/>
              </a:ext>
            </a:extLst>
          </p:cNvPr>
          <p:cNvSpPr>
            <a:spLocks noGrp="1"/>
          </p:cNvSpPr>
          <p:nvPr>
            <p:ph type="body" sz="quarter" idx="23" hasCustomPrompt="1"/>
          </p:nvPr>
        </p:nvSpPr>
        <p:spPr>
          <a:xfrm>
            <a:off x="9392109" y="2822209"/>
            <a:ext cx="1067612"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37" name="Conector recto 36">
            <a:extLst>
              <a:ext uri="{FF2B5EF4-FFF2-40B4-BE49-F238E27FC236}">
                <a16:creationId xmlns:a16="http://schemas.microsoft.com/office/drawing/2014/main" id="{BA4D19C9-29F0-6280-0984-F4CB318866B4}"/>
              </a:ext>
            </a:extLst>
          </p:cNvPr>
          <p:cNvCxnSpPr>
            <a:cxnSpLocks/>
          </p:cNvCxnSpPr>
          <p:nvPr userDrawn="1"/>
        </p:nvCxnSpPr>
        <p:spPr>
          <a:xfrm>
            <a:off x="9264968" y="2616469"/>
            <a:ext cx="0" cy="3009900"/>
          </a:xfrm>
          <a:prstGeom prst="line">
            <a:avLst/>
          </a:prstGeom>
          <a:ln w="12700"/>
        </p:spPr>
        <p:style>
          <a:lnRef idx="2">
            <a:schemeClr val="dk1"/>
          </a:lnRef>
          <a:fillRef idx="0">
            <a:schemeClr val="dk1"/>
          </a:fillRef>
          <a:effectRef idx="1">
            <a:schemeClr val="dk1"/>
          </a:effectRef>
          <a:fontRef idx="minor">
            <a:schemeClr val="tx1"/>
          </a:fontRef>
        </p:style>
      </p:cxnSp>
      <p:sp>
        <p:nvSpPr>
          <p:cNvPr id="38" name="Marcador de texto 2">
            <a:extLst>
              <a:ext uri="{FF2B5EF4-FFF2-40B4-BE49-F238E27FC236}">
                <a16:creationId xmlns:a16="http://schemas.microsoft.com/office/drawing/2014/main" id="{CCD1A6B9-AFF5-886B-15F2-1A7612E1E670}"/>
              </a:ext>
            </a:extLst>
          </p:cNvPr>
          <p:cNvSpPr>
            <a:spLocks noGrp="1"/>
          </p:cNvSpPr>
          <p:nvPr>
            <p:ph type="body" sz="quarter" idx="24" hasCustomPrompt="1"/>
          </p:nvPr>
        </p:nvSpPr>
        <p:spPr>
          <a:xfrm>
            <a:off x="9392108" y="4437649"/>
            <a:ext cx="2294419" cy="998220"/>
          </a:xfrm>
          <a:prstGeom prst="rect">
            <a:avLst/>
          </a:prstGeom>
        </p:spPr>
        <p:txBody>
          <a:bodyPr anchor="b"/>
          <a:lstStyle>
            <a:lvl1pPr marL="0" indent="0">
              <a:buNone/>
              <a:defRPr sz="8000" b="1" i="0">
                <a:solidFill>
                  <a:srgbClr val="0042ED"/>
                </a:solidFill>
                <a:latin typeface="Arial Narrow" panose="020B0604020202020204" pitchFamily="34" charset="0"/>
                <a:cs typeface="Graphik Medium" pitchFamily="2" charset="77"/>
              </a:defRPr>
            </a:lvl1pPr>
          </a:lstStyle>
          <a:p>
            <a:pPr lvl="0"/>
            <a:r>
              <a:rPr lang="es-ES"/>
              <a:t>4.3K</a:t>
            </a:r>
          </a:p>
        </p:txBody>
      </p:sp>
      <p:sp>
        <p:nvSpPr>
          <p:cNvPr id="2" name="Marcador de texto 12">
            <a:extLst>
              <a:ext uri="{FF2B5EF4-FFF2-40B4-BE49-F238E27FC236}">
                <a16:creationId xmlns:a16="http://schemas.microsoft.com/office/drawing/2014/main" id="{AEC6B335-A8C8-1D32-6DB7-94A05825B69C}"/>
              </a:ext>
            </a:extLst>
          </p:cNvPr>
          <p:cNvSpPr>
            <a:spLocks noGrp="1"/>
          </p:cNvSpPr>
          <p:nvPr>
            <p:ph type="body" sz="quarter" idx="14" hasCustomPrompt="1"/>
          </p:nvPr>
        </p:nvSpPr>
        <p:spPr>
          <a:xfrm>
            <a:off x="555308" y="351213"/>
            <a:ext cx="3638550"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21" name="Marcador de texto 22">
            <a:extLst>
              <a:ext uri="{FF2B5EF4-FFF2-40B4-BE49-F238E27FC236}">
                <a16:creationId xmlns:a16="http://schemas.microsoft.com/office/drawing/2014/main" id="{3FEA985F-DE89-AD85-1608-3B9EF4249E41}"/>
              </a:ext>
            </a:extLst>
          </p:cNvPr>
          <p:cNvSpPr>
            <a:spLocks noGrp="1"/>
          </p:cNvSpPr>
          <p:nvPr>
            <p:ph type="body" sz="quarter" idx="27" hasCustomPrompt="1"/>
          </p:nvPr>
        </p:nvSpPr>
        <p:spPr>
          <a:xfrm>
            <a:off x="4333297" y="359314"/>
            <a:ext cx="7373148" cy="1171772"/>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Tree>
    <p:extLst>
      <p:ext uri="{BB962C8B-B14F-4D97-AF65-F5344CB8AC3E}">
        <p14:creationId xmlns:p14="http://schemas.microsoft.com/office/powerpoint/2010/main" val="35106526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1_Figures">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8" name="Marcador de texto 2">
            <a:extLst>
              <a:ext uri="{FF2B5EF4-FFF2-40B4-BE49-F238E27FC236}">
                <a16:creationId xmlns:a16="http://schemas.microsoft.com/office/drawing/2014/main" id="{2F79BBD8-FD79-6894-3428-9F05665813F5}"/>
              </a:ext>
            </a:extLst>
          </p:cNvPr>
          <p:cNvSpPr>
            <a:spLocks noGrp="1"/>
          </p:cNvSpPr>
          <p:nvPr>
            <p:ph type="body" sz="quarter" idx="19" hasCustomPrompt="1"/>
          </p:nvPr>
        </p:nvSpPr>
        <p:spPr>
          <a:xfrm>
            <a:off x="4193858" y="2703137"/>
            <a:ext cx="1067612" cy="398207"/>
          </a:xfrm>
          <a:prstGeom prst="rect">
            <a:avLst/>
          </a:prstGeom>
        </p:spPr>
        <p:txBody>
          <a:bodyPr/>
          <a:lstStyle>
            <a:lvl1pPr marL="0" indent="0">
              <a:buNone/>
              <a:defRPr sz="1400" b="1" i="0">
                <a:latin typeface="Arial Narrow" panose="020B0604020202020204" pitchFamily="34" charset="0"/>
                <a:cs typeface="Graphik Medium" pitchFamily="2" charset="77"/>
              </a:defRPr>
            </a:lvl1pPr>
          </a:lstStyle>
          <a:p>
            <a:pPr lvl="0"/>
            <a:r>
              <a:rPr lang="es-ES"/>
              <a:t>SUBTITLE</a:t>
            </a:r>
          </a:p>
        </p:txBody>
      </p:sp>
      <p:cxnSp>
        <p:nvCxnSpPr>
          <p:cNvPr id="19" name="Conector recto 18">
            <a:extLst>
              <a:ext uri="{FF2B5EF4-FFF2-40B4-BE49-F238E27FC236}">
                <a16:creationId xmlns:a16="http://schemas.microsoft.com/office/drawing/2014/main" id="{71949490-10BA-63F0-3A1E-996004EB8021}"/>
              </a:ext>
            </a:extLst>
          </p:cNvPr>
          <p:cNvCxnSpPr>
            <a:cxnSpLocks/>
          </p:cNvCxnSpPr>
          <p:nvPr userDrawn="1"/>
        </p:nvCxnSpPr>
        <p:spPr>
          <a:xfrm flipH="1">
            <a:off x="4263848" y="2611697"/>
            <a:ext cx="7491272" cy="0"/>
          </a:xfrm>
          <a:prstGeom prst="line">
            <a:avLst/>
          </a:prstGeom>
          <a:ln w="12700"/>
        </p:spPr>
        <p:style>
          <a:lnRef idx="2">
            <a:schemeClr val="dk1"/>
          </a:lnRef>
          <a:fillRef idx="0">
            <a:schemeClr val="dk1"/>
          </a:fillRef>
          <a:effectRef idx="1">
            <a:schemeClr val="dk1"/>
          </a:effectRef>
          <a:fontRef idx="minor">
            <a:schemeClr val="tx1"/>
          </a:fontRef>
        </p:style>
      </p:cxnSp>
      <p:sp>
        <p:nvSpPr>
          <p:cNvPr id="20" name="Marcador de texto 2">
            <a:extLst>
              <a:ext uri="{FF2B5EF4-FFF2-40B4-BE49-F238E27FC236}">
                <a16:creationId xmlns:a16="http://schemas.microsoft.com/office/drawing/2014/main" id="{BCDB9CED-75DA-F231-9853-30EA5679F2FD}"/>
              </a:ext>
            </a:extLst>
          </p:cNvPr>
          <p:cNvSpPr>
            <a:spLocks noGrp="1"/>
          </p:cNvSpPr>
          <p:nvPr>
            <p:ph type="body" sz="quarter" idx="20" hasCustomPrompt="1"/>
          </p:nvPr>
        </p:nvSpPr>
        <p:spPr>
          <a:xfrm>
            <a:off x="4089400" y="3163578"/>
            <a:ext cx="7665720" cy="2520938"/>
          </a:xfrm>
          <a:prstGeom prst="rect">
            <a:avLst/>
          </a:prstGeom>
        </p:spPr>
        <p:txBody>
          <a:bodyPr anchor="b"/>
          <a:lstStyle>
            <a:lvl1pPr marL="0" indent="0">
              <a:buNone/>
              <a:defRPr sz="20000" b="1" i="0">
                <a:solidFill>
                  <a:srgbClr val="0042ED"/>
                </a:solidFill>
                <a:latin typeface="Arial Narrow" panose="020B0604020202020204" pitchFamily="34" charset="0"/>
                <a:cs typeface="Graphik Medium" pitchFamily="2" charset="77"/>
              </a:defRPr>
            </a:lvl1pPr>
          </a:lstStyle>
          <a:p>
            <a:pPr lvl="0"/>
            <a:r>
              <a:rPr lang="es-ES"/>
              <a:t>256K</a:t>
            </a:r>
          </a:p>
        </p:txBody>
      </p:sp>
      <p:sp>
        <p:nvSpPr>
          <p:cNvPr id="10" name="Marcador de texto 22">
            <a:extLst>
              <a:ext uri="{FF2B5EF4-FFF2-40B4-BE49-F238E27FC236}">
                <a16:creationId xmlns:a16="http://schemas.microsoft.com/office/drawing/2014/main" id="{3FEA985F-DE89-AD85-1608-3B9EF4249E41}"/>
              </a:ext>
            </a:extLst>
          </p:cNvPr>
          <p:cNvSpPr>
            <a:spLocks noGrp="1"/>
          </p:cNvSpPr>
          <p:nvPr>
            <p:ph type="body" sz="quarter" idx="27" hasCustomPrompt="1"/>
          </p:nvPr>
        </p:nvSpPr>
        <p:spPr>
          <a:xfrm>
            <a:off x="555307" y="1286188"/>
            <a:ext cx="11259536" cy="1050612"/>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11" name="Marcador de texto 22">
            <a:extLst>
              <a:ext uri="{FF2B5EF4-FFF2-40B4-BE49-F238E27FC236}">
                <a16:creationId xmlns:a16="http://schemas.microsoft.com/office/drawing/2014/main" id="{3FEA985F-DE89-AD85-1608-3B9EF4249E41}"/>
              </a:ext>
            </a:extLst>
          </p:cNvPr>
          <p:cNvSpPr>
            <a:spLocks noGrp="1"/>
          </p:cNvSpPr>
          <p:nvPr>
            <p:ph type="body" sz="quarter" idx="28" hasCustomPrompt="1"/>
          </p:nvPr>
        </p:nvSpPr>
        <p:spPr>
          <a:xfrm>
            <a:off x="555307" y="2586018"/>
            <a:ext cx="3194657" cy="3098497"/>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pPr lvl="0"/>
            <a:r>
              <a:rPr lang="es-ES"/>
              <a:t>Dolor </a:t>
            </a:r>
            <a:r>
              <a:rPr lang="es-ES" err="1"/>
              <a:t>sit</a:t>
            </a:r>
            <a:r>
              <a:rPr lang="es-ES"/>
              <a:t> </a:t>
            </a:r>
            <a:r>
              <a:rPr lang="es-ES" err="1"/>
              <a:t>amet</a:t>
            </a:r>
            <a:r>
              <a:rPr lang="es-ES"/>
              <a:t> </a:t>
            </a:r>
            <a:r>
              <a:rPr lang="es-ES" err="1"/>
              <a:t>Lorem</a:t>
            </a:r>
            <a:r>
              <a:rPr lang="es-ES"/>
              <a:t> </a:t>
            </a:r>
            <a:r>
              <a:rPr lang="es-ES" err="1"/>
              <a:t>ipsum</a:t>
            </a:r>
            <a:endParaRPr lang="es-ES"/>
          </a:p>
        </p:txBody>
      </p:sp>
      <p:sp>
        <p:nvSpPr>
          <p:cNvPr id="12"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8050169" cy="67845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Tree>
    <p:extLst>
      <p:ext uri="{BB962C8B-B14F-4D97-AF65-F5344CB8AC3E}">
        <p14:creationId xmlns:p14="http://schemas.microsoft.com/office/powerpoint/2010/main" val="9357188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cover Blue">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1" y="2921282"/>
            <a:ext cx="3301907" cy="999565"/>
          </a:xfrm>
          <a:prstGeom prst="rect">
            <a:avLst/>
          </a:prstGeom>
        </p:spPr>
        <p:txBody>
          <a:bodyPr anchor="ctr"/>
          <a:lstStyle>
            <a:lvl1pPr>
              <a:defRPr sz="3600" b="1" i="0">
                <a:solidFill>
                  <a:schemeClr val="bg1"/>
                </a:solidFill>
                <a:latin typeface="Arial Narrow" panose="020B0604020202020204" pitchFamily="34" charset="0"/>
              </a:defRPr>
            </a:lvl1pPr>
          </a:lstStyle>
          <a:p>
            <a:r>
              <a:rPr lang="es-ES"/>
              <a:t>THANK YOU</a:t>
            </a:r>
          </a:p>
        </p:txBody>
      </p:sp>
      <p:pic>
        <p:nvPicPr>
          <p:cNvPr id="10" name="Imagen 9">
            <a:extLst>
              <a:ext uri="{FF2B5EF4-FFF2-40B4-BE49-F238E27FC236}">
                <a16:creationId xmlns:a16="http://schemas.microsoft.com/office/drawing/2014/main" id="{98A6A820-9578-2A70-F108-49ED09A378D6}"/>
              </a:ext>
            </a:extLst>
          </p:cNvPr>
          <p:cNvPicPr/>
          <p:nvPr userDrawn="1"/>
        </p:nvPicPr>
        <p:blipFill>
          <a:blip r:embed="rId2"/>
          <a:stretch>
            <a:fillRect/>
          </a:stretch>
        </p:blipFill>
        <p:spPr>
          <a:xfrm>
            <a:off x="8600170" y="2824420"/>
            <a:ext cx="2738392" cy="1209160"/>
          </a:xfrm>
          <a:prstGeom prst="rect">
            <a:avLst/>
          </a:prstGeom>
        </p:spPr>
      </p:pic>
    </p:spTree>
    <p:extLst>
      <p:ext uri="{BB962C8B-B14F-4D97-AF65-F5344CB8AC3E}">
        <p14:creationId xmlns:p14="http://schemas.microsoft.com/office/powerpoint/2010/main" val="7393990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0_Big Text White">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7" name="Marcador de texto 16">
            <a:extLst>
              <a:ext uri="{FF2B5EF4-FFF2-40B4-BE49-F238E27FC236}">
                <a16:creationId xmlns:a16="http://schemas.microsoft.com/office/drawing/2014/main" id="{7213C399-11D2-A211-97A8-23AE85C08659}"/>
              </a:ext>
            </a:extLst>
          </p:cNvPr>
          <p:cNvSpPr>
            <a:spLocks noGrp="1"/>
          </p:cNvSpPr>
          <p:nvPr>
            <p:ph type="body" sz="quarter" idx="16" hasCustomPrompt="1"/>
          </p:nvPr>
        </p:nvSpPr>
        <p:spPr>
          <a:xfrm>
            <a:off x="6718734" y="2587043"/>
            <a:ext cx="4365825" cy="1874518"/>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r>
              <a:rPr lang="es-ES" sz="1400" err="1">
                <a:latin typeface="Graphik" panose="020B0503030202060203" pitchFamily="34" charset="77"/>
              </a:rPr>
              <a:t>Lorem</a:t>
            </a:r>
            <a:r>
              <a:rPr lang="es-ES" sz="1400">
                <a:latin typeface="Graphik" panose="020B0503030202060203" pitchFamily="34" charset="77"/>
              </a:rPr>
              <a:t>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20" name="Marcador de texto 2">
            <a:extLst>
              <a:ext uri="{FF2B5EF4-FFF2-40B4-BE49-F238E27FC236}">
                <a16:creationId xmlns:a16="http://schemas.microsoft.com/office/drawing/2014/main" id="{BCDB9CED-75DA-F231-9853-30EA5679F2FD}"/>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rgbClr val="0042ED"/>
                </a:solidFill>
                <a:latin typeface="Arial Narrow" panose="020B0604020202020204" pitchFamily="34" charset="0"/>
                <a:cs typeface="Graphik Medium" pitchFamily="2" charset="77"/>
              </a:defRPr>
            </a:lvl1pPr>
          </a:lstStyle>
          <a:p>
            <a:pPr lvl="0"/>
            <a:r>
              <a:rPr lang="es-ES"/>
              <a:t>T700</a:t>
            </a:r>
          </a:p>
          <a:p>
            <a:pPr lvl="0"/>
            <a:r>
              <a:rPr lang="es-ES"/>
              <a:t>SERIES</a:t>
            </a:r>
          </a:p>
        </p:txBody>
      </p:sp>
      <p:sp>
        <p:nvSpPr>
          <p:cNvPr id="4" name="Marcador de texto 3">
            <a:extLst>
              <a:ext uri="{FF2B5EF4-FFF2-40B4-BE49-F238E27FC236}">
                <a16:creationId xmlns:a16="http://schemas.microsoft.com/office/drawing/2014/main" id="{B1CFDFA5-58D4-E7C8-D9C9-CE019EFEBC87}"/>
              </a:ext>
            </a:extLst>
          </p:cNvPr>
          <p:cNvSpPr>
            <a:spLocks noGrp="1"/>
          </p:cNvSpPr>
          <p:nvPr>
            <p:ph type="body" sz="quarter" idx="21" hasCustomPrompt="1"/>
          </p:nvPr>
        </p:nvSpPr>
        <p:spPr>
          <a:xfrm>
            <a:off x="555308" y="5200705"/>
            <a:ext cx="990600" cy="251460"/>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
        <p:nvSpPr>
          <p:cNvPr id="5" name="Marcador de texto 3">
            <a:extLst>
              <a:ext uri="{FF2B5EF4-FFF2-40B4-BE49-F238E27FC236}">
                <a16:creationId xmlns:a16="http://schemas.microsoft.com/office/drawing/2014/main" id="{930C8DA4-5604-769A-CAE7-7D37FD399CC8}"/>
              </a:ext>
            </a:extLst>
          </p:cNvPr>
          <p:cNvSpPr>
            <a:spLocks noGrp="1"/>
          </p:cNvSpPr>
          <p:nvPr>
            <p:ph type="body" sz="quarter" idx="22" hasCustomPrompt="1"/>
          </p:nvPr>
        </p:nvSpPr>
        <p:spPr>
          <a:xfrm>
            <a:off x="3877628" y="5200705"/>
            <a:ext cx="2444432" cy="769620"/>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sz="1200" err="1">
                <a:latin typeface="Graphik" panose="020B0503030202060203" pitchFamily="34" charset="77"/>
              </a:rPr>
              <a:t>Lorem</a:t>
            </a:r>
            <a:r>
              <a:rPr lang="es-ES" sz="1200">
                <a:latin typeface="Graphik" panose="020B0503030202060203" pitchFamily="34" charset="77"/>
              </a:rPr>
              <a:t> </a:t>
            </a:r>
            <a:r>
              <a:rPr lang="es-ES" sz="1200" err="1">
                <a:latin typeface="Graphik" panose="020B0503030202060203" pitchFamily="34" charset="77"/>
              </a:rPr>
              <a:t>ipsum</a:t>
            </a:r>
            <a:r>
              <a:rPr lang="es-ES" sz="1200">
                <a:latin typeface="Graphik" panose="020B0503030202060203" pitchFamily="34" charset="77"/>
              </a:rPr>
              <a:t> dolor </a:t>
            </a:r>
            <a:r>
              <a:rPr lang="es-ES" sz="1200" err="1">
                <a:latin typeface="Graphik" panose="020B0503030202060203" pitchFamily="34" charset="77"/>
              </a:rPr>
              <a:t>sit</a:t>
            </a:r>
            <a:r>
              <a:rPr lang="es-ES" sz="1200">
                <a:latin typeface="Graphik" panose="020B0503030202060203" pitchFamily="34" charset="77"/>
              </a:rPr>
              <a:t> </a:t>
            </a:r>
            <a:r>
              <a:rPr lang="es-ES" sz="1200" err="1">
                <a:latin typeface="Graphik" panose="020B0503030202060203" pitchFamily="34" charset="77"/>
              </a:rPr>
              <a:t>amet</a:t>
            </a:r>
            <a:r>
              <a:rPr lang="es-ES" sz="1200">
                <a:latin typeface="Graphik" panose="020B0503030202060203" pitchFamily="34" charset="77"/>
              </a:rPr>
              <a:t>, </a:t>
            </a:r>
            <a:r>
              <a:rPr lang="es-ES" sz="1200" err="1">
                <a:latin typeface="Graphik" panose="020B0503030202060203" pitchFamily="34" charset="77"/>
              </a:rPr>
              <a:t>consectetuer</a:t>
            </a:r>
            <a:r>
              <a:rPr lang="es-ES" sz="1200">
                <a:latin typeface="Graphik" panose="020B0503030202060203" pitchFamily="34" charset="77"/>
              </a:rPr>
              <a:t> </a:t>
            </a:r>
            <a:r>
              <a:rPr lang="es-ES" sz="1200" err="1">
                <a:latin typeface="Graphik" panose="020B0503030202060203" pitchFamily="34" charset="77"/>
              </a:rPr>
              <a:t>adipiscing</a:t>
            </a:r>
            <a:r>
              <a:rPr lang="es-ES" sz="1200">
                <a:latin typeface="Graphik" panose="020B0503030202060203" pitchFamily="34" charset="77"/>
              </a:rPr>
              <a:t> </a:t>
            </a:r>
            <a:r>
              <a:rPr lang="es-ES" sz="1200" err="1">
                <a:latin typeface="Graphik" panose="020B0503030202060203" pitchFamily="34" charset="77"/>
              </a:rPr>
              <a:t>elit</a:t>
            </a:r>
            <a:r>
              <a:rPr lang="es-ES" sz="1200">
                <a:latin typeface="Graphik" panose="020B0503030202060203" pitchFamily="34" charset="77"/>
              </a:rPr>
              <a:t>, sed </a:t>
            </a:r>
            <a:r>
              <a:rPr lang="es-ES" sz="1200" err="1">
                <a:latin typeface="Graphik" panose="020B0503030202060203" pitchFamily="34" charset="77"/>
              </a:rPr>
              <a:t>diam</a:t>
            </a:r>
            <a:r>
              <a:rPr lang="es-ES" sz="1200">
                <a:latin typeface="Graphik" panose="020B0503030202060203" pitchFamily="34" charset="77"/>
              </a:rPr>
              <a:t> </a:t>
            </a:r>
            <a:r>
              <a:rPr lang="es-ES" sz="1200" err="1">
                <a:latin typeface="Graphik" panose="020B0503030202060203" pitchFamily="34" charset="77"/>
              </a:rPr>
              <a:t>nonummy</a:t>
            </a:r>
            <a:endParaRPr lang="es-ES"/>
          </a:p>
        </p:txBody>
      </p:sp>
    </p:spTree>
    <p:extLst>
      <p:ext uri="{BB962C8B-B14F-4D97-AF65-F5344CB8AC3E}">
        <p14:creationId xmlns:p14="http://schemas.microsoft.com/office/powerpoint/2010/main" val="41739449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1_Big Text Whit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7101840" y="1"/>
            <a:ext cx="5090160" cy="6858000"/>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7" name="Marcador de texto 16">
            <a:extLst>
              <a:ext uri="{FF2B5EF4-FFF2-40B4-BE49-F238E27FC236}">
                <a16:creationId xmlns:a16="http://schemas.microsoft.com/office/drawing/2014/main" id="{7213C399-11D2-A211-97A8-23AE85C08659}"/>
              </a:ext>
            </a:extLst>
          </p:cNvPr>
          <p:cNvSpPr>
            <a:spLocks noGrp="1"/>
          </p:cNvSpPr>
          <p:nvPr>
            <p:ph type="body" sz="quarter" idx="16" hasCustomPrompt="1"/>
          </p:nvPr>
        </p:nvSpPr>
        <p:spPr>
          <a:xfrm>
            <a:off x="552577" y="4511258"/>
            <a:ext cx="4250564" cy="1296674"/>
          </a:xfrm>
          <a:prstGeom prst="rect">
            <a:avLst/>
          </a:prstGeom>
        </p:spPr>
        <p:txBody>
          <a:bodyPr/>
          <a:lstStyle>
            <a:lvl1pPr marL="0" indent="0">
              <a:buNone/>
              <a:defRPr sz="1400" b="0" i="0">
                <a:latin typeface="Arial" panose="020B0604020202020204" pitchFamily="34" charset="0"/>
                <a:cs typeface="Arial" panose="020B0604020202020204" pitchFamily="34" charset="0"/>
              </a:defRPr>
            </a:lvl1pPr>
          </a:lstStyle>
          <a:p>
            <a:r>
              <a:rPr lang="es-ES" sz="1400" err="1">
                <a:latin typeface="Graphik" panose="020B0503030202060203" pitchFamily="34" charset="77"/>
              </a:rPr>
              <a:t>Lorem</a:t>
            </a:r>
            <a:r>
              <a:rPr lang="es-ES" sz="1400">
                <a:latin typeface="Graphik" panose="020B0503030202060203" pitchFamily="34" charset="77"/>
              </a:rPr>
              <a:t>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2" name="Marcador de texto 2">
            <a:extLst>
              <a:ext uri="{FF2B5EF4-FFF2-40B4-BE49-F238E27FC236}">
                <a16:creationId xmlns:a16="http://schemas.microsoft.com/office/drawing/2014/main" id="{DC2F54FA-A764-338E-F3A4-D9D9C51FEA60}"/>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rgbClr val="0042ED"/>
                </a:solidFill>
                <a:latin typeface="Arial Narrow" panose="020B0604020202020204" pitchFamily="34" charset="0"/>
                <a:cs typeface="Graphik Medium" pitchFamily="2" charset="77"/>
              </a:defRPr>
            </a:lvl1pPr>
          </a:lstStyle>
          <a:p>
            <a:pPr lvl="0"/>
            <a:r>
              <a:rPr lang="es-ES"/>
              <a:t>T700</a:t>
            </a:r>
          </a:p>
          <a:p>
            <a:pPr lvl="0"/>
            <a:r>
              <a:rPr lang="es-ES"/>
              <a:t>SERIES</a:t>
            </a:r>
          </a:p>
        </p:txBody>
      </p:sp>
    </p:spTree>
    <p:extLst>
      <p:ext uri="{BB962C8B-B14F-4D97-AF65-F5344CB8AC3E}">
        <p14:creationId xmlns:p14="http://schemas.microsoft.com/office/powerpoint/2010/main" val="27864578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42_Big Text White">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4" name="Marcador de texto 3">
            <a:extLst>
              <a:ext uri="{FF2B5EF4-FFF2-40B4-BE49-F238E27FC236}">
                <a16:creationId xmlns:a16="http://schemas.microsoft.com/office/drawing/2014/main" id="{598AC176-FABB-3EF3-6D09-981ADDBE2AE7}"/>
              </a:ext>
            </a:extLst>
          </p:cNvPr>
          <p:cNvSpPr>
            <a:spLocks noGrp="1"/>
          </p:cNvSpPr>
          <p:nvPr>
            <p:ph type="body" sz="quarter" idx="13" hasCustomPrompt="1"/>
          </p:nvPr>
        </p:nvSpPr>
        <p:spPr>
          <a:xfrm>
            <a:off x="577004" y="700121"/>
            <a:ext cx="10908262" cy="3641159"/>
          </a:xfrm>
          <a:prstGeom prst="rect">
            <a:avLst/>
          </a:prstGeom>
        </p:spPr>
        <p:txBody>
          <a:bodyPr/>
          <a:lstStyle>
            <a:lvl1pPr marL="0" indent="0">
              <a:buNone/>
              <a:defRPr sz="4000" b="0" i="0">
                <a:solidFill>
                  <a:srgbClr val="0042ED"/>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Featuring</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cutting-edge</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aerodynamics</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nd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patented</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in 2023 (US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Patent</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No. 1234567),</a:t>
            </a:r>
            <a:b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b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his</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next-generation</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aircraft</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turbine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delivers</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15%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greater</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fuel </a:t>
            </a:r>
            <a:r>
              <a:rPr kumimoji="0" lang="es-ES" sz="32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efficiency</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nd a 10%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reduction</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in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noise</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emissions</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setting</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 new standard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for</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sustainable</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aviation</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36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echnology</a:t>
            </a:r>
            <a:r>
              <a:rPr kumimoji="0" lang="es-ES" sz="36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a:t>
            </a:r>
          </a:p>
        </p:txBody>
      </p:sp>
      <p:sp>
        <p:nvSpPr>
          <p:cNvPr id="3" name="Marcador de texto 2">
            <a:extLst>
              <a:ext uri="{FF2B5EF4-FFF2-40B4-BE49-F238E27FC236}">
                <a16:creationId xmlns:a16="http://schemas.microsoft.com/office/drawing/2014/main" id="{032325A8-588F-283B-CAF7-DB06B0AA3EC3}"/>
              </a:ext>
            </a:extLst>
          </p:cNvPr>
          <p:cNvSpPr>
            <a:spLocks noGrp="1"/>
          </p:cNvSpPr>
          <p:nvPr>
            <p:ph type="body" sz="quarter" idx="14" hasCustomPrompt="1"/>
          </p:nvPr>
        </p:nvSpPr>
        <p:spPr>
          <a:xfrm>
            <a:off x="573088" y="4816500"/>
            <a:ext cx="1828468" cy="508209"/>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lvl="0"/>
            <a:r>
              <a:rPr lang="es-ES"/>
              <a:t>Lore </a:t>
            </a:r>
            <a:r>
              <a:rPr lang="es-ES" err="1"/>
              <a:t>ipsum</a:t>
            </a:r>
            <a:r>
              <a:rPr lang="es-ES"/>
              <a:t> dolor</a:t>
            </a:r>
          </a:p>
        </p:txBody>
      </p:sp>
      <p:sp>
        <p:nvSpPr>
          <p:cNvPr id="5" name="Marcador de texto 2">
            <a:extLst>
              <a:ext uri="{FF2B5EF4-FFF2-40B4-BE49-F238E27FC236}">
                <a16:creationId xmlns:a16="http://schemas.microsoft.com/office/drawing/2014/main" id="{1B445507-287E-63DA-0A64-DDB24DC5A2B9}"/>
              </a:ext>
            </a:extLst>
          </p:cNvPr>
          <p:cNvSpPr>
            <a:spLocks noGrp="1"/>
          </p:cNvSpPr>
          <p:nvPr>
            <p:ph type="body" sz="quarter" idx="15" hasCustomPrompt="1"/>
          </p:nvPr>
        </p:nvSpPr>
        <p:spPr>
          <a:xfrm>
            <a:off x="3205755" y="4816500"/>
            <a:ext cx="3235237" cy="508209"/>
          </a:xfrm>
          <a:prstGeom prst="rect">
            <a:avLst/>
          </a:prstGeom>
        </p:spPr>
        <p:txBody>
          <a:bodyPr/>
          <a:lstStyle>
            <a:lvl1pPr marL="0" indent="0">
              <a:buNone/>
              <a:defRPr sz="1200" b="0" i="0">
                <a:latin typeface="Arial" panose="020B0604020202020204" pitchFamily="34" charset="0"/>
                <a:cs typeface="Arial" panose="020B0604020202020204" pitchFamily="34" charset="0"/>
              </a:defRPr>
            </a:lvl1pPr>
          </a:lstStyle>
          <a:p>
            <a:pPr>
              <a:defRPr/>
            </a:pPr>
            <a:r>
              <a:rPr kumimoji="0" lang="es-ES" sz="1200" b="0" i="0" u="none" strike="noStrike" kern="1200" cap="none" spc="0" normalizeH="0" baseline="0" noProof="0">
                <a:ln>
                  <a:noFill/>
                </a:ln>
                <a:effectLst/>
                <a:uLnTx/>
                <a:uFillTx/>
                <a:latin typeface="Graphik" pitchFamily="2" charset="77"/>
                <a:ea typeface="+mn-ea"/>
                <a:cs typeface="Graphik" pitchFamily="2" charset="77"/>
              </a:rPr>
              <a:t>Tex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of</a:t>
            </a:r>
            <a:r>
              <a:rPr kumimoji="0" lang="es-ES" sz="1200" b="0" i="0" u="none" strike="noStrike" kern="1200" cap="none" spc="0" normalizeH="0" baseline="0" noProof="0">
                <a:ln>
                  <a:noFill/>
                </a:ln>
                <a:effectLst/>
                <a:uLnTx/>
                <a:uFillTx/>
                <a:latin typeface="Graphik" pitchFamily="2" charset="77"/>
                <a:ea typeface="+mn-ea"/>
                <a:cs typeface="Graphik" pitchFamily="2" charset="77"/>
              </a:rPr>
              <a: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exampl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ring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es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f</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ur</a:t>
            </a:r>
            <a:r>
              <a:rPr kumimoji="0" lang="es-ES" sz="1200" b="0" i="0" u="none" strike="noStrike" kern="1200" cap="none" spc="0" normalizeH="0" baseline="0" noProof="0">
                <a:ln>
                  <a:noFill/>
                </a:ln>
                <a:effectLst/>
                <a:uLnTx/>
                <a:uFillTx/>
                <a:latin typeface="Graphik" panose="020B0503030202060203" pitchFamily="34" charset="77"/>
                <a:ea typeface="+mn-ea"/>
                <a:cs typeface="+mn-cs"/>
              </a:rPr>
              <a:t> innovative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piri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nd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generat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hared</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valu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lo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bar in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viation</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Every</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day</a:t>
            </a:r>
            <a:r>
              <a:rPr kumimoji="0" lang="es-ES" sz="1200" b="0" i="0" u="none" strike="noStrike" kern="1200" cap="none" spc="0" normalizeH="0" baseline="0" noProof="0">
                <a:ln>
                  <a:noFill/>
                </a:ln>
                <a:effectLst/>
                <a:uLnTx/>
                <a:uFillTx/>
                <a:latin typeface="Graphik" panose="020B0503030202060203" pitchFamily="34" charset="77"/>
                <a:ea typeface="+mn-ea"/>
                <a:cs typeface="+mn-cs"/>
              </a:rPr>
              <a:t>.</a:t>
            </a:r>
          </a:p>
        </p:txBody>
      </p:sp>
    </p:spTree>
    <p:extLst>
      <p:ext uri="{BB962C8B-B14F-4D97-AF65-F5344CB8AC3E}">
        <p14:creationId xmlns:p14="http://schemas.microsoft.com/office/powerpoint/2010/main" val="12967465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43_Big Text White">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sp>
        <p:nvSpPr>
          <p:cNvPr id="12" name="Marcador de texto 11">
            <a:extLst>
              <a:ext uri="{FF2B5EF4-FFF2-40B4-BE49-F238E27FC236}">
                <a16:creationId xmlns:a16="http://schemas.microsoft.com/office/drawing/2014/main" id="{5B6CD483-E60B-0290-5D53-729D2FC832ED}"/>
              </a:ext>
            </a:extLst>
          </p:cNvPr>
          <p:cNvSpPr>
            <a:spLocks noGrp="1"/>
          </p:cNvSpPr>
          <p:nvPr>
            <p:ph type="body" sz="quarter" idx="13" hasCustomPrompt="1"/>
          </p:nvPr>
        </p:nvSpPr>
        <p:spPr>
          <a:xfrm>
            <a:off x="603157" y="656284"/>
            <a:ext cx="10620375" cy="4491823"/>
          </a:xfrm>
          <a:prstGeom prst="rect">
            <a:avLst/>
          </a:prstGeom>
        </p:spPr>
        <p:txBody>
          <a:bodyPr anchor="t"/>
          <a:lstStyle>
            <a:lvl1pPr marL="0" indent="0">
              <a:buNone/>
              <a:defRPr sz="4800" b="0" i="0">
                <a:solidFill>
                  <a:srgbClr val="0042ED"/>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Work</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on</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he</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most</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impactful</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eam</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in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he</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industry</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nd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best</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place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o</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accelerate</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your</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career</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a:t>
            </a:r>
            <a:b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b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Better</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engineering</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to</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create</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innovative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products</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 and </a:t>
            </a:r>
            <a:r>
              <a:rPr kumimoji="0" lang="es-ES" sz="4800" b="0" i="0" u="none" strike="noStrike" kern="1200" cap="none" spc="0" normalizeH="0" baseline="0" noProof="0" err="1">
                <a:ln>
                  <a:noFill/>
                </a:ln>
                <a:solidFill>
                  <a:srgbClr val="0042ED"/>
                </a:solidFill>
                <a:effectLst/>
                <a:uLnTx/>
                <a:uFillTx/>
                <a:latin typeface="Graphik" pitchFamily="2" charset="77"/>
                <a:ea typeface="+mn-ea"/>
                <a:cs typeface="Graphik" pitchFamily="2" charset="77"/>
              </a:rPr>
              <a:t>solutions</a:t>
            </a:r>
            <a:r>
              <a:rPr kumimoji="0" lang="es-ES" sz="4800" b="0" i="0" u="none" strike="noStrike" kern="1200" cap="none" spc="0" normalizeH="0" baseline="0" noProof="0">
                <a:ln>
                  <a:noFill/>
                </a:ln>
                <a:solidFill>
                  <a:srgbClr val="0042ED"/>
                </a:solidFill>
                <a:effectLst/>
                <a:uLnTx/>
                <a:uFillTx/>
                <a:latin typeface="Graphik" pitchFamily="2" charset="77"/>
                <a:ea typeface="+mn-ea"/>
                <a:cs typeface="Graphik" pitchFamily="2" charset="77"/>
              </a:rPr>
              <a:t>."</a:t>
            </a:r>
          </a:p>
        </p:txBody>
      </p:sp>
    </p:spTree>
    <p:extLst>
      <p:ext uri="{BB962C8B-B14F-4D97-AF65-F5344CB8AC3E}">
        <p14:creationId xmlns:p14="http://schemas.microsoft.com/office/powerpoint/2010/main" val="22214615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50_Big Text Blue">
    <p:bg>
      <p:bgPr>
        <a:solidFill>
          <a:srgbClr val="0042ED"/>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3" name="Imagen 1">
            <a:extLst>
              <a:ext uri="{FF2B5EF4-FFF2-40B4-BE49-F238E27FC236}">
                <a16:creationId xmlns:a16="http://schemas.microsoft.com/office/drawing/2014/main" id="{83063D65-F2CC-65DD-056F-5ED5F808AF37}"/>
              </a:ext>
            </a:extLst>
          </p:cNvPr>
          <p:cNvPicPr/>
          <p:nvPr userDrawn="1"/>
        </p:nvPicPr>
        <p:blipFill>
          <a:blip r:embed="rId2"/>
          <a:stretch>
            <a:fillRect/>
          </a:stretch>
        </p:blipFill>
        <p:spPr>
          <a:xfrm>
            <a:off x="653742" y="6320455"/>
            <a:ext cx="663716" cy="293070"/>
          </a:xfrm>
          <a:prstGeom prst="rect">
            <a:avLst/>
          </a:prstGeom>
        </p:spPr>
      </p:pic>
      <p:sp>
        <p:nvSpPr>
          <p:cNvPr id="2" name="Marcador de texto 16">
            <a:extLst>
              <a:ext uri="{FF2B5EF4-FFF2-40B4-BE49-F238E27FC236}">
                <a16:creationId xmlns:a16="http://schemas.microsoft.com/office/drawing/2014/main" id="{9D5D7F0E-4406-61CF-8CFC-21253C29D33C}"/>
              </a:ext>
            </a:extLst>
          </p:cNvPr>
          <p:cNvSpPr>
            <a:spLocks noGrp="1"/>
          </p:cNvSpPr>
          <p:nvPr>
            <p:ph type="body" sz="quarter" idx="16" hasCustomPrompt="1"/>
          </p:nvPr>
        </p:nvSpPr>
        <p:spPr>
          <a:xfrm>
            <a:off x="6718734" y="2587043"/>
            <a:ext cx="4365825" cy="1874518"/>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r>
              <a:rPr lang="es-ES" sz="1400">
                <a:latin typeface="Graphik" panose="020B0503030202060203" pitchFamily="34" charset="77"/>
              </a:rPr>
              <a:t>Lloren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8" name="Marcador de texto 2">
            <a:extLst>
              <a:ext uri="{FF2B5EF4-FFF2-40B4-BE49-F238E27FC236}">
                <a16:creationId xmlns:a16="http://schemas.microsoft.com/office/drawing/2014/main" id="{F5329F62-712C-E477-9A38-817CB42A5E4F}"/>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chemeClr val="bg1"/>
                </a:solidFill>
                <a:latin typeface="Arial Narrow" panose="020B0604020202020204" pitchFamily="34" charset="0"/>
                <a:cs typeface="Graphik Medium" pitchFamily="2" charset="77"/>
              </a:defRPr>
            </a:lvl1pPr>
          </a:lstStyle>
          <a:p>
            <a:pPr lvl="0"/>
            <a:r>
              <a:rPr lang="es-ES"/>
              <a:t>T700</a:t>
            </a:r>
          </a:p>
          <a:p>
            <a:pPr lvl="0"/>
            <a:r>
              <a:rPr lang="es-ES"/>
              <a:t>SERIES</a:t>
            </a:r>
          </a:p>
        </p:txBody>
      </p:sp>
      <p:sp>
        <p:nvSpPr>
          <p:cNvPr id="9" name="Marcador de texto 3">
            <a:extLst>
              <a:ext uri="{FF2B5EF4-FFF2-40B4-BE49-F238E27FC236}">
                <a16:creationId xmlns:a16="http://schemas.microsoft.com/office/drawing/2014/main" id="{86A9D47F-8028-A922-441B-55FA0A4CDF71}"/>
              </a:ext>
            </a:extLst>
          </p:cNvPr>
          <p:cNvSpPr>
            <a:spLocks noGrp="1"/>
          </p:cNvSpPr>
          <p:nvPr>
            <p:ph type="body" sz="quarter" idx="21" hasCustomPrompt="1"/>
          </p:nvPr>
        </p:nvSpPr>
        <p:spPr>
          <a:xfrm>
            <a:off x="555308" y="5200705"/>
            <a:ext cx="990600" cy="251460"/>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
        <p:nvSpPr>
          <p:cNvPr id="10" name="Marcador de texto 3">
            <a:extLst>
              <a:ext uri="{FF2B5EF4-FFF2-40B4-BE49-F238E27FC236}">
                <a16:creationId xmlns:a16="http://schemas.microsoft.com/office/drawing/2014/main" id="{45640FAE-6F36-33C8-644D-80AB7F478F30}"/>
              </a:ext>
            </a:extLst>
          </p:cNvPr>
          <p:cNvSpPr>
            <a:spLocks noGrp="1"/>
          </p:cNvSpPr>
          <p:nvPr>
            <p:ph type="body" sz="quarter" idx="22" hasCustomPrompt="1"/>
          </p:nvPr>
        </p:nvSpPr>
        <p:spPr>
          <a:xfrm>
            <a:off x="3877628" y="5200705"/>
            <a:ext cx="2444432" cy="769620"/>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sz="1200" err="1">
                <a:latin typeface="Graphik" panose="020B0503030202060203" pitchFamily="34" charset="77"/>
              </a:rPr>
              <a:t>Lorem</a:t>
            </a:r>
            <a:r>
              <a:rPr lang="es-ES" sz="1200">
                <a:latin typeface="Graphik" panose="020B0503030202060203" pitchFamily="34" charset="77"/>
              </a:rPr>
              <a:t> </a:t>
            </a:r>
            <a:r>
              <a:rPr lang="es-ES" sz="1200" err="1">
                <a:latin typeface="Graphik" panose="020B0503030202060203" pitchFamily="34" charset="77"/>
              </a:rPr>
              <a:t>ipsum</a:t>
            </a:r>
            <a:r>
              <a:rPr lang="es-ES" sz="1200">
                <a:latin typeface="Graphik" panose="020B0503030202060203" pitchFamily="34" charset="77"/>
              </a:rPr>
              <a:t> dolor </a:t>
            </a:r>
            <a:r>
              <a:rPr lang="es-ES" sz="1200" err="1">
                <a:latin typeface="Graphik" panose="020B0503030202060203" pitchFamily="34" charset="77"/>
              </a:rPr>
              <a:t>sit</a:t>
            </a:r>
            <a:r>
              <a:rPr lang="es-ES" sz="1200">
                <a:latin typeface="Graphik" panose="020B0503030202060203" pitchFamily="34" charset="77"/>
              </a:rPr>
              <a:t> </a:t>
            </a:r>
            <a:r>
              <a:rPr lang="es-ES" sz="1200" err="1">
                <a:latin typeface="Graphik" panose="020B0503030202060203" pitchFamily="34" charset="77"/>
              </a:rPr>
              <a:t>amet</a:t>
            </a:r>
            <a:r>
              <a:rPr lang="es-ES" sz="1200">
                <a:latin typeface="Graphik" panose="020B0503030202060203" pitchFamily="34" charset="77"/>
              </a:rPr>
              <a:t>, </a:t>
            </a:r>
            <a:r>
              <a:rPr lang="es-ES" sz="1200" err="1">
                <a:latin typeface="Graphik" panose="020B0503030202060203" pitchFamily="34" charset="77"/>
              </a:rPr>
              <a:t>consectetuer</a:t>
            </a:r>
            <a:r>
              <a:rPr lang="es-ES" sz="1200">
                <a:latin typeface="Graphik" panose="020B0503030202060203" pitchFamily="34" charset="77"/>
              </a:rPr>
              <a:t> </a:t>
            </a:r>
            <a:r>
              <a:rPr lang="es-ES" sz="1200" err="1">
                <a:latin typeface="Graphik" panose="020B0503030202060203" pitchFamily="34" charset="77"/>
              </a:rPr>
              <a:t>adipiscing</a:t>
            </a:r>
            <a:r>
              <a:rPr lang="es-ES" sz="1200">
                <a:latin typeface="Graphik" panose="020B0503030202060203" pitchFamily="34" charset="77"/>
              </a:rPr>
              <a:t> </a:t>
            </a:r>
            <a:r>
              <a:rPr lang="es-ES" sz="1200" err="1">
                <a:latin typeface="Graphik" panose="020B0503030202060203" pitchFamily="34" charset="77"/>
              </a:rPr>
              <a:t>elit</a:t>
            </a:r>
            <a:r>
              <a:rPr lang="es-ES" sz="1200">
                <a:latin typeface="Graphik" panose="020B0503030202060203" pitchFamily="34" charset="77"/>
              </a:rPr>
              <a:t>, sed </a:t>
            </a:r>
            <a:r>
              <a:rPr lang="es-ES" sz="1200" err="1">
                <a:latin typeface="Graphik" panose="020B0503030202060203" pitchFamily="34" charset="77"/>
              </a:rPr>
              <a:t>diam</a:t>
            </a:r>
            <a:r>
              <a:rPr lang="es-ES" sz="1200">
                <a:latin typeface="Graphik" panose="020B0503030202060203" pitchFamily="34" charset="77"/>
              </a:rPr>
              <a:t> </a:t>
            </a:r>
            <a:r>
              <a:rPr lang="es-ES" sz="1200" err="1">
                <a:latin typeface="Graphik" panose="020B0503030202060203" pitchFamily="34" charset="77"/>
              </a:rPr>
              <a:t>nonummy</a:t>
            </a:r>
            <a:endParaRPr lang="es-ES"/>
          </a:p>
        </p:txBody>
      </p:sp>
    </p:spTree>
    <p:extLst>
      <p:ext uri="{BB962C8B-B14F-4D97-AF65-F5344CB8AC3E}">
        <p14:creationId xmlns:p14="http://schemas.microsoft.com/office/powerpoint/2010/main" val="2014474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51_Big Text Blue">
    <p:bg>
      <p:bgPr>
        <a:solidFill>
          <a:srgbClr val="0042ED"/>
        </a:solidFill>
        <a:effectLst/>
      </p:bgPr>
    </p:bg>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7101840" y="1"/>
            <a:ext cx="5090160" cy="6858000"/>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4" name="Imagen 1">
            <a:extLst>
              <a:ext uri="{FF2B5EF4-FFF2-40B4-BE49-F238E27FC236}">
                <a16:creationId xmlns:a16="http://schemas.microsoft.com/office/drawing/2014/main" id="{28542A44-94A6-1EE3-0399-39846D2ACA28}"/>
              </a:ext>
            </a:extLst>
          </p:cNvPr>
          <p:cNvPicPr/>
          <p:nvPr userDrawn="1"/>
        </p:nvPicPr>
        <p:blipFill>
          <a:blip r:embed="rId2"/>
          <a:stretch>
            <a:fillRect/>
          </a:stretch>
        </p:blipFill>
        <p:spPr>
          <a:xfrm>
            <a:off x="653742" y="6320455"/>
            <a:ext cx="663716" cy="293070"/>
          </a:xfrm>
          <a:prstGeom prst="rect">
            <a:avLst/>
          </a:prstGeom>
        </p:spPr>
      </p:pic>
      <p:sp>
        <p:nvSpPr>
          <p:cNvPr id="2" name="Marcador de texto 16">
            <a:extLst>
              <a:ext uri="{FF2B5EF4-FFF2-40B4-BE49-F238E27FC236}">
                <a16:creationId xmlns:a16="http://schemas.microsoft.com/office/drawing/2014/main" id="{03B9CC0C-C46B-9D0F-31B7-BB726DA377D4}"/>
              </a:ext>
            </a:extLst>
          </p:cNvPr>
          <p:cNvSpPr>
            <a:spLocks noGrp="1"/>
          </p:cNvSpPr>
          <p:nvPr>
            <p:ph type="body" sz="quarter" idx="16" hasCustomPrompt="1"/>
          </p:nvPr>
        </p:nvSpPr>
        <p:spPr>
          <a:xfrm>
            <a:off x="552577" y="4511258"/>
            <a:ext cx="4250564" cy="1296674"/>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r>
              <a:rPr lang="es-ES" sz="1400" err="1">
                <a:latin typeface="Graphik" panose="020B0503030202060203" pitchFamily="34" charset="77"/>
              </a:rPr>
              <a:t>Lorem</a:t>
            </a:r>
            <a:r>
              <a:rPr lang="es-ES" sz="1400">
                <a:latin typeface="Graphik" panose="020B0503030202060203" pitchFamily="34" charset="77"/>
              </a:rPr>
              <a:t>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5" name="Marcador de texto 2">
            <a:extLst>
              <a:ext uri="{FF2B5EF4-FFF2-40B4-BE49-F238E27FC236}">
                <a16:creationId xmlns:a16="http://schemas.microsoft.com/office/drawing/2014/main" id="{55D3F657-13BB-967F-FBCA-4620223A4AD6}"/>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chemeClr val="bg1"/>
                </a:solidFill>
                <a:latin typeface="Arial Narrow" panose="020B0604020202020204" pitchFamily="34" charset="0"/>
                <a:cs typeface="Graphik Medium" pitchFamily="2" charset="77"/>
              </a:defRPr>
            </a:lvl1pPr>
          </a:lstStyle>
          <a:p>
            <a:pPr lvl="0"/>
            <a:r>
              <a:rPr lang="es-ES"/>
              <a:t>T700</a:t>
            </a:r>
          </a:p>
          <a:p>
            <a:pPr lvl="0"/>
            <a:r>
              <a:rPr lang="es-ES"/>
              <a:t>SERIES</a:t>
            </a:r>
          </a:p>
        </p:txBody>
      </p:sp>
    </p:spTree>
    <p:extLst>
      <p:ext uri="{BB962C8B-B14F-4D97-AF65-F5344CB8AC3E}">
        <p14:creationId xmlns:p14="http://schemas.microsoft.com/office/powerpoint/2010/main" val="3636247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52_Big Text Blue">
    <p:bg>
      <p:bgPr>
        <a:solidFill>
          <a:srgbClr val="0042ED"/>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4" name="Marcador de texto 3">
            <a:extLst>
              <a:ext uri="{FF2B5EF4-FFF2-40B4-BE49-F238E27FC236}">
                <a16:creationId xmlns:a16="http://schemas.microsoft.com/office/drawing/2014/main" id="{598AC176-FABB-3EF3-6D09-981ADDBE2AE7}"/>
              </a:ext>
            </a:extLst>
          </p:cNvPr>
          <p:cNvSpPr>
            <a:spLocks noGrp="1"/>
          </p:cNvSpPr>
          <p:nvPr>
            <p:ph type="body" sz="quarter" idx="13" hasCustomPrompt="1"/>
          </p:nvPr>
        </p:nvSpPr>
        <p:spPr>
          <a:xfrm>
            <a:off x="577004" y="766852"/>
            <a:ext cx="10908262" cy="3641159"/>
          </a:xfrm>
          <a:prstGeom prst="rect">
            <a:avLst/>
          </a:prstGeom>
        </p:spPr>
        <p:txBody>
          <a:bodyPr/>
          <a:lstStyle>
            <a:lvl1pPr marL="0" indent="0">
              <a:buNone/>
              <a:defRPr sz="4000" b="0" i="0">
                <a:solidFill>
                  <a:schemeClr val="bg1"/>
                </a:solidFill>
                <a:latin typeface="Arial" panose="020B0604020202020204" pitchFamily="34" charset="0"/>
                <a:cs typeface="Arial" panose="020B0604020202020204" pitchFamily="34" charset="0"/>
              </a:defRPr>
            </a:lvl1pPr>
          </a:lstStyle>
          <a:p>
            <a:r>
              <a:rPr lang="es-ES" sz="3600" err="1">
                <a:solidFill>
                  <a:schemeClr val="bg1"/>
                </a:solidFill>
                <a:latin typeface="Graphik" pitchFamily="2" charset="77"/>
                <a:cs typeface="Graphik" pitchFamily="2" charset="77"/>
              </a:rPr>
              <a:t>Featuring</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cutting-edg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erodynamics</a:t>
            </a:r>
            <a:r>
              <a:rPr lang="es-ES" sz="3600">
                <a:solidFill>
                  <a:schemeClr val="bg1"/>
                </a:solidFill>
                <a:latin typeface="Graphik" pitchFamily="2" charset="77"/>
                <a:cs typeface="Graphik" pitchFamily="2" charset="77"/>
              </a:rPr>
              <a:t> and </a:t>
            </a:r>
            <a:r>
              <a:rPr lang="es-ES" sz="3600" err="1">
                <a:solidFill>
                  <a:schemeClr val="bg1"/>
                </a:solidFill>
                <a:latin typeface="Graphik" pitchFamily="2" charset="77"/>
                <a:cs typeface="Graphik" pitchFamily="2" charset="77"/>
              </a:rPr>
              <a:t>patented</a:t>
            </a:r>
            <a:r>
              <a:rPr lang="es-ES" sz="3600">
                <a:solidFill>
                  <a:schemeClr val="bg1"/>
                </a:solidFill>
                <a:latin typeface="Graphik" pitchFamily="2" charset="77"/>
                <a:cs typeface="Graphik" pitchFamily="2" charset="77"/>
              </a:rPr>
              <a:t> in 2023 (US </a:t>
            </a:r>
            <a:r>
              <a:rPr lang="es-ES" sz="3600" err="1">
                <a:solidFill>
                  <a:schemeClr val="bg1"/>
                </a:solidFill>
                <a:latin typeface="Graphik" pitchFamily="2" charset="77"/>
                <a:cs typeface="Graphik" pitchFamily="2" charset="77"/>
              </a:rPr>
              <a:t>Patent</a:t>
            </a:r>
            <a:r>
              <a:rPr lang="es-ES" sz="3600">
                <a:solidFill>
                  <a:schemeClr val="bg1"/>
                </a:solidFill>
                <a:latin typeface="Graphik" pitchFamily="2" charset="77"/>
                <a:cs typeface="Graphik" pitchFamily="2" charset="77"/>
              </a:rPr>
              <a:t> No. 1234567),</a:t>
            </a:r>
            <a:br>
              <a:rPr lang="es-ES" sz="3600">
                <a:solidFill>
                  <a:schemeClr val="bg1"/>
                </a:solidFill>
                <a:latin typeface="Graphik" pitchFamily="2" charset="77"/>
                <a:cs typeface="Graphik" pitchFamily="2" charset="77"/>
              </a:rPr>
            </a:br>
            <a:r>
              <a:rPr lang="es-ES" sz="3600" err="1">
                <a:solidFill>
                  <a:schemeClr val="bg1"/>
                </a:solidFill>
                <a:latin typeface="Graphik" pitchFamily="2" charset="77"/>
                <a:cs typeface="Graphik" pitchFamily="2" charset="77"/>
              </a:rPr>
              <a:t>this</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next-generation</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ircraft</a:t>
            </a:r>
            <a:r>
              <a:rPr lang="es-ES" sz="3600">
                <a:solidFill>
                  <a:schemeClr val="bg1"/>
                </a:solidFill>
                <a:latin typeface="Graphik" pitchFamily="2" charset="77"/>
                <a:cs typeface="Graphik" pitchFamily="2" charset="77"/>
              </a:rPr>
              <a:t> turbine </a:t>
            </a:r>
            <a:r>
              <a:rPr lang="es-ES" sz="3600" err="1">
                <a:solidFill>
                  <a:schemeClr val="bg1"/>
                </a:solidFill>
                <a:latin typeface="Graphik" pitchFamily="2" charset="77"/>
                <a:cs typeface="Graphik" pitchFamily="2" charset="77"/>
              </a:rPr>
              <a:t>delivers</a:t>
            </a:r>
            <a:r>
              <a:rPr lang="es-ES" sz="3600">
                <a:solidFill>
                  <a:schemeClr val="bg1"/>
                </a:solidFill>
                <a:latin typeface="Graphik" pitchFamily="2" charset="77"/>
                <a:cs typeface="Graphik" pitchFamily="2" charset="77"/>
              </a:rPr>
              <a:t> 15% </a:t>
            </a:r>
            <a:r>
              <a:rPr lang="es-ES" sz="3600" err="1">
                <a:solidFill>
                  <a:schemeClr val="bg1"/>
                </a:solidFill>
                <a:latin typeface="Graphik" pitchFamily="2" charset="77"/>
                <a:cs typeface="Graphik" pitchFamily="2" charset="77"/>
              </a:rPr>
              <a:t>greater</a:t>
            </a:r>
            <a:r>
              <a:rPr lang="es-ES" sz="3600">
                <a:solidFill>
                  <a:schemeClr val="bg1"/>
                </a:solidFill>
                <a:latin typeface="Graphik" pitchFamily="2" charset="77"/>
                <a:cs typeface="Graphik" pitchFamily="2" charset="77"/>
              </a:rPr>
              <a:t> fuel </a:t>
            </a:r>
            <a:r>
              <a:rPr lang="es-ES" sz="3200" err="1">
                <a:solidFill>
                  <a:schemeClr val="bg1"/>
                </a:solidFill>
                <a:latin typeface="Graphik" pitchFamily="2" charset="77"/>
                <a:cs typeface="Graphik" pitchFamily="2" charset="77"/>
              </a:rPr>
              <a:t>efficiency</a:t>
            </a:r>
            <a:r>
              <a:rPr lang="es-ES" sz="3600">
                <a:solidFill>
                  <a:schemeClr val="bg1"/>
                </a:solidFill>
                <a:latin typeface="Graphik" pitchFamily="2" charset="77"/>
                <a:cs typeface="Graphik" pitchFamily="2" charset="77"/>
              </a:rPr>
              <a:t> and a 10% </a:t>
            </a:r>
            <a:r>
              <a:rPr lang="es-ES" sz="3600" err="1">
                <a:solidFill>
                  <a:schemeClr val="bg1"/>
                </a:solidFill>
                <a:latin typeface="Graphik" pitchFamily="2" charset="77"/>
                <a:cs typeface="Graphik" pitchFamily="2" charset="77"/>
              </a:rPr>
              <a:t>reduction</a:t>
            </a:r>
            <a:r>
              <a:rPr lang="es-ES" sz="3600">
                <a:solidFill>
                  <a:schemeClr val="bg1"/>
                </a:solidFill>
                <a:latin typeface="Graphik" pitchFamily="2" charset="77"/>
                <a:cs typeface="Graphik" pitchFamily="2" charset="77"/>
              </a:rPr>
              <a:t> in </a:t>
            </a:r>
            <a:r>
              <a:rPr lang="es-ES" sz="3600" err="1">
                <a:solidFill>
                  <a:schemeClr val="bg1"/>
                </a:solidFill>
                <a:latin typeface="Graphik" pitchFamily="2" charset="77"/>
                <a:cs typeface="Graphik" pitchFamily="2" charset="77"/>
              </a:rPr>
              <a:t>nois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emissions</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setting</a:t>
            </a:r>
            <a:r>
              <a:rPr lang="es-ES" sz="3600">
                <a:solidFill>
                  <a:schemeClr val="bg1"/>
                </a:solidFill>
                <a:latin typeface="Graphik" pitchFamily="2" charset="77"/>
                <a:cs typeface="Graphik" pitchFamily="2" charset="77"/>
              </a:rPr>
              <a:t> a new standard </a:t>
            </a:r>
            <a:r>
              <a:rPr lang="es-ES" sz="3600" err="1">
                <a:solidFill>
                  <a:schemeClr val="bg1"/>
                </a:solidFill>
                <a:latin typeface="Graphik" pitchFamily="2" charset="77"/>
                <a:cs typeface="Graphik" pitchFamily="2" charset="77"/>
              </a:rPr>
              <a:t>for</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sustainabl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viation</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technology</a:t>
            </a:r>
            <a:r>
              <a:rPr lang="es-ES" sz="3600">
                <a:solidFill>
                  <a:schemeClr val="bg1"/>
                </a:solidFill>
                <a:latin typeface="Graphik" pitchFamily="2" charset="77"/>
                <a:cs typeface="Graphik" pitchFamily="2" charset="77"/>
              </a:rPr>
              <a:t>.</a:t>
            </a:r>
          </a:p>
        </p:txBody>
      </p:sp>
      <p:sp>
        <p:nvSpPr>
          <p:cNvPr id="3" name="Marcador de texto 2">
            <a:extLst>
              <a:ext uri="{FF2B5EF4-FFF2-40B4-BE49-F238E27FC236}">
                <a16:creationId xmlns:a16="http://schemas.microsoft.com/office/drawing/2014/main" id="{032325A8-588F-283B-CAF7-DB06B0AA3EC3}"/>
              </a:ext>
            </a:extLst>
          </p:cNvPr>
          <p:cNvSpPr>
            <a:spLocks noGrp="1"/>
          </p:cNvSpPr>
          <p:nvPr>
            <p:ph type="body" sz="quarter" idx="14" hasCustomPrompt="1"/>
          </p:nvPr>
        </p:nvSpPr>
        <p:spPr>
          <a:xfrm>
            <a:off x="573088" y="4819597"/>
            <a:ext cx="1828468" cy="508209"/>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a:t>Lore </a:t>
            </a:r>
            <a:r>
              <a:rPr lang="es-ES" err="1"/>
              <a:t>ipsum</a:t>
            </a:r>
            <a:r>
              <a:rPr lang="es-ES"/>
              <a:t> dolor</a:t>
            </a:r>
          </a:p>
        </p:txBody>
      </p:sp>
      <p:sp>
        <p:nvSpPr>
          <p:cNvPr id="5" name="Marcador de texto 2">
            <a:extLst>
              <a:ext uri="{FF2B5EF4-FFF2-40B4-BE49-F238E27FC236}">
                <a16:creationId xmlns:a16="http://schemas.microsoft.com/office/drawing/2014/main" id="{1B445507-287E-63DA-0A64-DDB24DC5A2B9}"/>
              </a:ext>
            </a:extLst>
          </p:cNvPr>
          <p:cNvSpPr>
            <a:spLocks noGrp="1"/>
          </p:cNvSpPr>
          <p:nvPr>
            <p:ph type="body" sz="quarter" idx="15" hasCustomPrompt="1"/>
          </p:nvPr>
        </p:nvSpPr>
        <p:spPr>
          <a:xfrm>
            <a:off x="3205755" y="4819597"/>
            <a:ext cx="3235237" cy="508209"/>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a:defRPr/>
            </a:pPr>
            <a:r>
              <a:rPr kumimoji="0" lang="es-ES" sz="1200" b="0" i="0" u="none" strike="noStrike" kern="1200" cap="none" spc="0" normalizeH="0" baseline="0" noProof="0">
                <a:ln>
                  <a:noFill/>
                </a:ln>
                <a:effectLst/>
                <a:uLnTx/>
                <a:uFillTx/>
                <a:latin typeface="Graphik" pitchFamily="2" charset="77"/>
                <a:ea typeface="+mn-ea"/>
                <a:cs typeface="Graphik" pitchFamily="2" charset="77"/>
              </a:rPr>
              <a:t>Tex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of</a:t>
            </a:r>
            <a:r>
              <a:rPr kumimoji="0" lang="es-ES" sz="1200" b="0" i="0" u="none" strike="noStrike" kern="1200" cap="none" spc="0" normalizeH="0" baseline="0" noProof="0">
                <a:ln>
                  <a:noFill/>
                </a:ln>
                <a:effectLst/>
                <a:uLnTx/>
                <a:uFillTx/>
                <a:latin typeface="Graphik" pitchFamily="2" charset="77"/>
                <a:ea typeface="+mn-ea"/>
                <a:cs typeface="Graphik" pitchFamily="2" charset="77"/>
              </a:rPr>
              <a: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exampl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ring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es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f</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ur</a:t>
            </a:r>
            <a:r>
              <a:rPr kumimoji="0" lang="es-ES" sz="1200" b="0" i="0" u="none" strike="noStrike" kern="1200" cap="none" spc="0" normalizeH="0" baseline="0" noProof="0">
                <a:ln>
                  <a:noFill/>
                </a:ln>
                <a:effectLst/>
                <a:uLnTx/>
                <a:uFillTx/>
                <a:latin typeface="Graphik" panose="020B0503030202060203" pitchFamily="34" charset="77"/>
                <a:ea typeface="+mn-ea"/>
                <a:cs typeface="+mn-cs"/>
              </a:rPr>
              <a:t> innovative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piri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nd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generat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hared</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valu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lo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bar in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viation</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Every</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day</a:t>
            </a:r>
            <a:r>
              <a:rPr kumimoji="0" lang="es-ES" sz="1200" b="0" i="0" u="none" strike="noStrike" kern="1200" cap="none" spc="0" normalizeH="0" baseline="0" noProof="0">
                <a:ln>
                  <a:noFill/>
                </a:ln>
                <a:effectLst/>
                <a:uLnTx/>
                <a:uFillTx/>
                <a:latin typeface="Graphik" panose="020B0503030202060203" pitchFamily="34" charset="77"/>
                <a:ea typeface="+mn-ea"/>
                <a:cs typeface="+mn-cs"/>
              </a:rPr>
              <a:t>.</a:t>
            </a:r>
          </a:p>
        </p:txBody>
      </p:sp>
      <p:pic>
        <p:nvPicPr>
          <p:cNvPr id="8" name="Imagen 1">
            <a:extLst>
              <a:ext uri="{FF2B5EF4-FFF2-40B4-BE49-F238E27FC236}">
                <a16:creationId xmlns:a16="http://schemas.microsoft.com/office/drawing/2014/main" id="{A141AC08-FC49-1D9C-9E42-C0A9078F6DDD}"/>
              </a:ext>
            </a:extLst>
          </p:cNvPr>
          <p:cNvPicPr/>
          <p:nvPr userDrawn="1"/>
        </p:nvPicPr>
        <p:blipFill>
          <a:blip r:embed="rId2"/>
          <a:stretch>
            <a:fillRect/>
          </a:stretch>
        </p:blipFill>
        <p:spPr>
          <a:xfrm>
            <a:off x="653742" y="6320455"/>
            <a:ext cx="663716" cy="293070"/>
          </a:xfrm>
          <a:prstGeom prst="rect">
            <a:avLst/>
          </a:prstGeom>
        </p:spPr>
      </p:pic>
    </p:spTree>
    <p:extLst>
      <p:ext uri="{BB962C8B-B14F-4D97-AF65-F5344CB8AC3E}">
        <p14:creationId xmlns:p14="http://schemas.microsoft.com/office/powerpoint/2010/main" val="1870532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3_Big Text Blue">
    <p:bg>
      <p:bgPr>
        <a:solidFill>
          <a:srgbClr val="0042ED"/>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12" name="Marcador de texto 11">
            <a:extLst>
              <a:ext uri="{FF2B5EF4-FFF2-40B4-BE49-F238E27FC236}">
                <a16:creationId xmlns:a16="http://schemas.microsoft.com/office/drawing/2014/main" id="{5B6CD483-E60B-0290-5D53-729D2FC832ED}"/>
              </a:ext>
            </a:extLst>
          </p:cNvPr>
          <p:cNvSpPr>
            <a:spLocks noGrp="1"/>
          </p:cNvSpPr>
          <p:nvPr>
            <p:ph type="body" sz="quarter" idx="13" hasCustomPrompt="1"/>
          </p:nvPr>
        </p:nvSpPr>
        <p:spPr>
          <a:xfrm>
            <a:off x="653742" y="677957"/>
            <a:ext cx="10620375" cy="4491823"/>
          </a:xfrm>
          <a:prstGeom prst="rect">
            <a:avLst/>
          </a:prstGeom>
        </p:spPr>
        <p:txBody>
          <a:bodyPr anchor="t"/>
          <a:lstStyle>
            <a:lvl1pPr marL="0" indent="0">
              <a:buNone/>
              <a:defRPr sz="4800" b="0" i="0">
                <a:solidFill>
                  <a:schemeClr val="bg1"/>
                </a:solidFill>
                <a:latin typeface="Arial" panose="020B0604020202020204" pitchFamily="34" charset="0"/>
                <a:cs typeface="Arial" panose="020B0604020202020204" pitchFamily="34" charset="0"/>
              </a:defRPr>
            </a:lvl1pPr>
          </a:lstStyle>
          <a:p>
            <a:r>
              <a:rPr lang="es-ES" sz="4800">
                <a:solidFill>
                  <a:schemeClr val="bg1"/>
                </a:solidFill>
                <a:latin typeface="Graphik" pitchFamily="2" charset="77"/>
                <a:cs typeface="Graphik" pitchFamily="2" charset="77"/>
              </a:rPr>
              <a:t>"</a:t>
            </a:r>
            <a:r>
              <a:rPr lang="es-ES" sz="4800" err="1">
                <a:solidFill>
                  <a:schemeClr val="bg1"/>
                </a:solidFill>
                <a:latin typeface="Graphik" pitchFamily="2" charset="77"/>
                <a:cs typeface="Graphik" pitchFamily="2" charset="77"/>
              </a:rPr>
              <a:t>Work</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on</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most</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mpactful</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eam</a:t>
            </a:r>
            <a:r>
              <a:rPr lang="es-ES" sz="4800">
                <a:solidFill>
                  <a:schemeClr val="bg1"/>
                </a:solidFill>
                <a:latin typeface="Graphik" pitchFamily="2" charset="77"/>
                <a:cs typeface="Graphik" pitchFamily="2" charset="77"/>
              </a:rPr>
              <a:t> in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ndustry</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best</a:t>
            </a:r>
            <a:r>
              <a:rPr lang="es-ES" sz="4800">
                <a:solidFill>
                  <a:schemeClr val="bg1"/>
                </a:solidFill>
                <a:latin typeface="Graphik" pitchFamily="2" charset="77"/>
                <a:cs typeface="Graphik" pitchFamily="2" charset="77"/>
              </a:rPr>
              <a:t> place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accelerat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you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areer</a:t>
            </a:r>
            <a:r>
              <a:rPr lang="es-ES" sz="4800">
                <a:solidFill>
                  <a:schemeClr val="bg1"/>
                </a:solidFill>
                <a:latin typeface="Graphik" pitchFamily="2" charset="77"/>
                <a:cs typeface="Graphik" pitchFamily="2" charset="77"/>
              </a:rPr>
              <a:t>.</a:t>
            </a:r>
            <a:br>
              <a:rPr lang="es-ES" sz="4800">
                <a:solidFill>
                  <a:schemeClr val="bg1"/>
                </a:solidFill>
                <a:latin typeface="Graphik" pitchFamily="2" charset="77"/>
                <a:cs typeface="Graphik" pitchFamily="2" charset="77"/>
              </a:rPr>
            </a:br>
            <a:r>
              <a:rPr lang="es-ES" sz="4800" err="1">
                <a:solidFill>
                  <a:schemeClr val="bg1"/>
                </a:solidFill>
                <a:latin typeface="Graphik" pitchFamily="2" charset="77"/>
                <a:cs typeface="Graphik" pitchFamily="2" charset="77"/>
              </a:rPr>
              <a:t>Bette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engineering</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reate</a:t>
            </a:r>
            <a:r>
              <a:rPr lang="es-ES" sz="4800">
                <a:solidFill>
                  <a:schemeClr val="bg1"/>
                </a:solidFill>
                <a:latin typeface="Graphik" pitchFamily="2" charset="77"/>
                <a:cs typeface="Graphik" pitchFamily="2" charset="77"/>
              </a:rPr>
              <a:t> innovative </a:t>
            </a:r>
            <a:r>
              <a:rPr lang="es-ES" sz="4800" err="1">
                <a:solidFill>
                  <a:schemeClr val="bg1"/>
                </a:solidFill>
                <a:latin typeface="Graphik" pitchFamily="2" charset="77"/>
                <a:cs typeface="Graphik" pitchFamily="2" charset="77"/>
              </a:rPr>
              <a:t>products</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solutions</a:t>
            </a:r>
            <a:r>
              <a:rPr lang="es-ES" sz="4800">
                <a:solidFill>
                  <a:schemeClr val="bg1"/>
                </a:solidFill>
                <a:latin typeface="Graphik" pitchFamily="2" charset="77"/>
                <a:cs typeface="Graphik" pitchFamily="2" charset="77"/>
              </a:rPr>
              <a:t>."</a:t>
            </a:r>
          </a:p>
        </p:txBody>
      </p:sp>
      <p:pic>
        <p:nvPicPr>
          <p:cNvPr id="3" name="Imagen 1">
            <a:extLst>
              <a:ext uri="{FF2B5EF4-FFF2-40B4-BE49-F238E27FC236}">
                <a16:creationId xmlns:a16="http://schemas.microsoft.com/office/drawing/2014/main" id="{EDBCF473-2418-A7CD-5A68-8CAA7943EA86}"/>
              </a:ext>
            </a:extLst>
          </p:cNvPr>
          <p:cNvPicPr/>
          <p:nvPr userDrawn="1"/>
        </p:nvPicPr>
        <p:blipFill>
          <a:blip r:embed="rId2"/>
          <a:stretch>
            <a:fillRect/>
          </a:stretch>
        </p:blipFill>
        <p:spPr>
          <a:xfrm>
            <a:off x="653742" y="6320455"/>
            <a:ext cx="663716" cy="293070"/>
          </a:xfrm>
          <a:prstGeom prst="rect">
            <a:avLst/>
          </a:prstGeom>
        </p:spPr>
      </p:pic>
    </p:spTree>
    <p:extLst>
      <p:ext uri="{BB962C8B-B14F-4D97-AF65-F5344CB8AC3E}">
        <p14:creationId xmlns:p14="http://schemas.microsoft.com/office/powerpoint/2010/main" val="41028605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60_Big Text Black">
    <p:bg>
      <p:bgPr>
        <a:solidFill>
          <a:schemeClr val="tx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3" name="Imagen 1">
            <a:extLst>
              <a:ext uri="{FF2B5EF4-FFF2-40B4-BE49-F238E27FC236}">
                <a16:creationId xmlns:a16="http://schemas.microsoft.com/office/drawing/2014/main" id="{83063D65-F2CC-65DD-056F-5ED5F808AF37}"/>
              </a:ext>
            </a:extLst>
          </p:cNvPr>
          <p:cNvPicPr/>
          <p:nvPr userDrawn="1"/>
        </p:nvPicPr>
        <p:blipFill>
          <a:blip r:embed="rId2"/>
          <a:stretch>
            <a:fillRect/>
          </a:stretch>
        </p:blipFill>
        <p:spPr>
          <a:xfrm>
            <a:off x="653742" y="6320455"/>
            <a:ext cx="663716" cy="293070"/>
          </a:xfrm>
          <a:prstGeom prst="rect">
            <a:avLst/>
          </a:prstGeom>
        </p:spPr>
      </p:pic>
      <p:sp>
        <p:nvSpPr>
          <p:cNvPr id="2" name="Marcador de texto 16">
            <a:extLst>
              <a:ext uri="{FF2B5EF4-FFF2-40B4-BE49-F238E27FC236}">
                <a16:creationId xmlns:a16="http://schemas.microsoft.com/office/drawing/2014/main" id="{9D5D7F0E-4406-61CF-8CFC-21253C29D33C}"/>
              </a:ext>
            </a:extLst>
          </p:cNvPr>
          <p:cNvSpPr>
            <a:spLocks noGrp="1"/>
          </p:cNvSpPr>
          <p:nvPr>
            <p:ph type="body" sz="quarter" idx="16" hasCustomPrompt="1"/>
          </p:nvPr>
        </p:nvSpPr>
        <p:spPr>
          <a:xfrm>
            <a:off x="6718734" y="2587043"/>
            <a:ext cx="4365825" cy="1874518"/>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r>
              <a:rPr lang="es-ES" sz="1400" err="1">
                <a:latin typeface="Graphik" panose="020B0503030202060203" pitchFamily="34" charset="77"/>
              </a:rPr>
              <a:t>Lorem</a:t>
            </a:r>
            <a:r>
              <a:rPr lang="es-ES" sz="1400">
                <a:latin typeface="Graphik" panose="020B0503030202060203" pitchFamily="34" charset="77"/>
              </a:rPr>
              <a:t>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8" name="Marcador de texto 2">
            <a:extLst>
              <a:ext uri="{FF2B5EF4-FFF2-40B4-BE49-F238E27FC236}">
                <a16:creationId xmlns:a16="http://schemas.microsoft.com/office/drawing/2014/main" id="{F5329F62-712C-E477-9A38-817CB42A5E4F}"/>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chemeClr val="bg1"/>
                </a:solidFill>
                <a:latin typeface="Arial Narrow" panose="020B0604020202020204" pitchFamily="34" charset="0"/>
                <a:cs typeface="Graphik Medium" pitchFamily="2" charset="77"/>
              </a:defRPr>
            </a:lvl1pPr>
          </a:lstStyle>
          <a:p>
            <a:pPr lvl="0"/>
            <a:r>
              <a:rPr lang="es-ES"/>
              <a:t>T700</a:t>
            </a:r>
          </a:p>
          <a:p>
            <a:pPr lvl="0"/>
            <a:r>
              <a:rPr lang="es-ES"/>
              <a:t>SERIES</a:t>
            </a:r>
          </a:p>
        </p:txBody>
      </p:sp>
      <p:sp>
        <p:nvSpPr>
          <p:cNvPr id="9" name="Marcador de texto 3">
            <a:extLst>
              <a:ext uri="{FF2B5EF4-FFF2-40B4-BE49-F238E27FC236}">
                <a16:creationId xmlns:a16="http://schemas.microsoft.com/office/drawing/2014/main" id="{86A9D47F-8028-A922-441B-55FA0A4CDF71}"/>
              </a:ext>
            </a:extLst>
          </p:cNvPr>
          <p:cNvSpPr>
            <a:spLocks noGrp="1"/>
          </p:cNvSpPr>
          <p:nvPr>
            <p:ph type="body" sz="quarter" idx="21" hasCustomPrompt="1"/>
          </p:nvPr>
        </p:nvSpPr>
        <p:spPr>
          <a:xfrm>
            <a:off x="555308" y="5200705"/>
            <a:ext cx="990600" cy="251460"/>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a:t>Lore </a:t>
            </a:r>
            <a:r>
              <a:rPr lang="es-ES" err="1"/>
              <a:t>ipsum</a:t>
            </a:r>
            <a:endParaRPr lang="es-ES"/>
          </a:p>
        </p:txBody>
      </p:sp>
      <p:sp>
        <p:nvSpPr>
          <p:cNvPr id="10" name="Marcador de texto 3">
            <a:extLst>
              <a:ext uri="{FF2B5EF4-FFF2-40B4-BE49-F238E27FC236}">
                <a16:creationId xmlns:a16="http://schemas.microsoft.com/office/drawing/2014/main" id="{45640FAE-6F36-33C8-644D-80AB7F478F30}"/>
              </a:ext>
            </a:extLst>
          </p:cNvPr>
          <p:cNvSpPr>
            <a:spLocks noGrp="1"/>
          </p:cNvSpPr>
          <p:nvPr>
            <p:ph type="body" sz="quarter" idx="22" hasCustomPrompt="1"/>
          </p:nvPr>
        </p:nvSpPr>
        <p:spPr>
          <a:xfrm>
            <a:off x="3877628" y="5200705"/>
            <a:ext cx="2444432" cy="769620"/>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sz="1200" err="1">
                <a:latin typeface="Graphik" panose="020B0503030202060203" pitchFamily="34" charset="77"/>
              </a:rPr>
              <a:t>Lorem</a:t>
            </a:r>
            <a:r>
              <a:rPr lang="es-ES" sz="1200">
                <a:latin typeface="Graphik" panose="020B0503030202060203" pitchFamily="34" charset="77"/>
              </a:rPr>
              <a:t> </a:t>
            </a:r>
            <a:r>
              <a:rPr lang="es-ES" sz="1200" err="1">
                <a:latin typeface="Graphik" panose="020B0503030202060203" pitchFamily="34" charset="77"/>
              </a:rPr>
              <a:t>ipsum</a:t>
            </a:r>
            <a:r>
              <a:rPr lang="es-ES" sz="1200">
                <a:latin typeface="Graphik" panose="020B0503030202060203" pitchFamily="34" charset="77"/>
              </a:rPr>
              <a:t> dolor </a:t>
            </a:r>
            <a:r>
              <a:rPr lang="es-ES" sz="1200" err="1">
                <a:latin typeface="Graphik" panose="020B0503030202060203" pitchFamily="34" charset="77"/>
              </a:rPr>
              <a:t>sit</a:t>
            </a:r>
            <a:r>
              <a:rPr lang="es-ES" sz="1200">
                <a:latin typeface="Graphik" panose="020B0503030202060203" pitchFamily="34" charset="77"/>
              </a:rPr>
              <a:t> </a:t>
            </a:r>
            <a:r>
              <a:rPr lang="es-ES" sz="1200" err="1">
                <a:latin typeface="Graphik" panose="020B0503030202060203" pitchFamily="34" charset="77"/>
              </a:rPr>
              <a:t>amet</a:t>
            </a:r>
            <a:r>
              <a:rPr lang="es-ES" sz="1200">
                <a:latin typeface="Graphik" panose="020B0503030202060203" pitchFamily="34" charset="77"/>
              </a:rPr>
              <a:t>, </a:t>
            </a:r>
            <a:r>
              <a:rPr lang="es-ES" sz="1200" err="1">
                <a:latin typeface="Graphik" panose="020B0503030202060203" pitchFamily="34" charset="77"/>
              </a:rPr>
              <a:t>consectetuer</a:t>
            </a:r>
            <a:r>
              <a:rPr lang="es-ES" sz="1200">
                <a:latin typeface="Graphik" panose="020B0503030202060203" pitchFamily="34" charset="77"/>
              </a:rPr>
              <a:t> </a:t>
            </a:r>
            <a:r>
              <a:rPr lang="es-ES" sz="1200" err="1">
                <a:latin typeface="Graphik" panose="020B0503030202060203" pitchFamily="34" charset="77"/>
              </a:rPr>
              <a:t>adipiscing</a:t>
            </a:r>
            <a:r>
              <a:rPr lang="es-ES" sz="1200">
                <a:latin typeface="Graphik" panose="020B0503030202060203" pitchFamily="34" charset="77"/>
              </a:rPr>
              <a:t> </a:t>
            </a:r>
            <a:r>
              <a:rPr lang="es-ES" sz="1200" err="1">
                <a:latin typeface="Graphik" panose="020B0503030202060203" pitchFamily="34" charset="77"/>
              </a:rPr>
              <a:t>elit</a:t>
            </a:r>
            <a:r>
              <a:rPr lang="es-ES" sz="1200">
                <a:latin typeface="Graphik" panose="020B0503030202060203" pitchFamily="34" charset="77"/>
              </a:rPr>
              <a:t>, sed </a:t>
            </a:r>
            <a:r>
              <a:rPr lang="es-ES" sz="1200" err="1">
                <a:latin typeface="Graphik" panose="020B0503030202060203" pitchFamily="34" charset="77"/>
              </a:rPr>
              <a:t>diam</a:t>
            </a:r>
            <a:r>
              <a:rPr lang="es-ES" sz="1200">
                <a:latin typeface="Graphik" panose="020B0503030202060203" pitchFamily="34" charset="77"/>
              </a:rPr>
              <a:t> </a:t>
            </a:r>
            <a:r>
              <a:rPr lang="es-ES" sz="1200" err="1">
                <a:latin typeface="Graphik" panose="020B0503030202060203" pitchFamily="34" charset="77"/>
              </a:rPr>
              <a:t>nonummy</a:t>
            </a:r>
            <a:endParaRPr lang="es-ES"/>
          </a:p>
        </p:txBody>
      </p:sp>
    </p:spTree>
    <p:extLst>
      <p:ext uri="{BB962C8B-B14F-4D97-AF65-F5344CB8AC3E}">
        <p14:creationId xmlns:p14="http://schemas.microsoft.com/office/powerpoint/2010/main" val="3493937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61_Big Text Black">
    <p:bg>
      <p:bgPr>
        <a:solidFill>
          <a:schemeClr val="tx1"/>
        </a:solidFill>
        <a:effectLst/>
      </p:bgPr>
    </p:bg>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7101840" y="1"/>
            <a:ext cx="5090160" cy="6858000"/>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4" name="Imagen 1">
            <a:extLst>
              <a:ext uri="{FF2B5EF4-FFF2-40B4-BE49-F238E27FC236}">
                <a16:creationId xmlns:a16="http://schemas.microsoft.com/office/drawing/2014/main" id="{28542A44-94A6-1EE3-0399-39846D2ACA28}"/>
              </a:ext>
            </a:extLst>
          </p:cNvPr>
          <p:cNvPicPr/>
          <p:nvPr userDrawn="1"/>
        </p:nvPicPr>
        <p:blipFill>
          <a:blip r:embed="rId2"/>
          <a:stretch>
            <a:fillRect/>
          </a:stretch>
        </p:blipFill>
        <p:spPr>
          <a:xfrm>
            <a:off x="653742" y="6320455"/>
            <a:ext cx="663716" cy="293070"/>
          </a:xfrm>
          <a:prstGeom prst="rect">
            <a:avLst/>
          </a:prstGeom>
        </p:spPr>
      </p:pic>
      <p:sp>
        <p:nvSpPr>
          <p:cNvPr id="2" name="Marcador de texto 16">
            <a:extLst>
              <a:ext uri="{FF2B5EF4-FFF2-40B4-BE49-F238E27FC236}">
                <a16:creationId xmlns:a16="http://schemas.microsoft.com/office/drawing/2014/main" id="{03B9CC0C-C46B-9D0F-31B7-BB726DA377D4}"/>
              </a:ext>
            </a:extLst>
          </p:cNvPr>
          <p:cNvSpPr>
            <a:spLocks noGrp="1"/>
          </p:cNvSpPr>
          <p:nvPr>
            <p:ph type="body" sz="quarter" idx="16" hasCustomPrompt="1"/>
          </p:nvPr>
        </p:nvSpPr>
        <p:spPr>
          <a:xfrm>
            <a:off x="552577" y="4511258"/>
            <a:ext cx="4250564" cy="1296674"/>
          </a:xfrm>
          <a:prstGeom prst="rect">
            <a:avLst/>
          </a:prstGeom>
        </p:spPr>
        <p:txBody>
          <a:bodyPr/>
          <a:lstStyle>
            <a:lvl1pPr marL="0" indent="0">
              <a:buNone/>
              <a:defRPr sz="1400" b="0" i="0">
                <a:solidFill>
                  <a:schemeClr val="bg1"/>
                </a:solidFill>
                <a:latin typeface="Arial" panose="020B0604020202020204" pitchFamily="34" charset="0"/>
                <a:cs typeface="Arial" panose="020B0604020202020204" pitchFamily="34" charset="0"/>
              </a:defRPr>
            </a:lvl1pPr>
          </a:lstStyle>
          <a:p>
            <a:r>
              <a:rPr lang="es-ES" sz="1400" err="1">
                <a:latin typeface="Graphik" panose="020B0503030202060203" pitchFamily="34" charset="77"/>
              </a:rPr>
              <a:t>Lorem</a:t>
            </a:r>
            <a:r>
              <a:rPr lang="es-ES" sz="1400">
                <a:latin typeface="Graphik" panose="020B0503030202060203" pitchFamily="34" charset="77"/>
              </a:rPr>
              <a:t> </a:t>
            </a:r>
            <a:r>
              <a:rPr lang="es-ES" sz="1400" err="1">
                <a:latin typeface="Graphik" panose="020B0503030202060203" pitchFamily="34" charset="77"/>
              </a:rPr>
              <a:t>ipsum</a:t>
            </a:r>
            <a:r>
              <a:rPr lang="es-ES" sz="1400">
                <a:latin typeface="Graphik" panose="020B0503030202060203" pitchFamily="34" charset="77"/>
              </a:rPr>
              <a:t> dolor </a:t>
            </a:r>
            <a:r>
              <a:rPr lang="es-ES" sz="1400" err="1">
                <a:latin typeface="Graphik" panose="020B0503030202060203" pitchFamily="34" charset="77"/>
              </a:rPr>
              <a:t>sit</a:t>
            </a:r>
            <a:r>
              <a:rPr lang="es-ES" sz="1400">
                <a:latin typeface="Graphik" panose="020B0503030202060203" pitchFamily="34" charset="77"/>
              </a:rPr>
              <a:t> </a:t>
            </a:r>
            <a:r>
              <a:rPr lang="es-ES" sz="1400" err="1">
                <a:latin typeface="Graphik" panose="020B0503030202060203" pitchFamily="34" charset="77"/>
              </a:rPr>
              <a:t>amet</a:t>
            </a:r>
            <a:r>
              <a:rPr lang="es-ES" sz="1400">
                <a:latin typeface="Graphik" panose="020B0503030202060203" pitchFamily="34" charset="77"/>
              </a:rPr>
              <a:t>, </a:t>
            </a:r>
            <a:r>
              <a:rPr lang="es-ES" sz="1400" err="1">
                <a:latin typeface="Graphik" panose="020B0503030202060203" pitchFamily="34" charset="77"/>
              </a:rPr>
              <a:t>consectetuer</a:t>
            </a:r>
            <a:r>
              <a:rPr lang="es-ES" sz="1400">
                <a:latin typeface="Graphik" panose="020B0503030202060203" pitchFamily="34" charset="77"/>
              </a:rPr>
              <a:t> </a:t>
            </a:r>
            <a:r>
              <a:rPr lang="es-ES" sz="1400" err="1">
                <a:latin typeface="Graphik" panose="020B0503030202060203" pitchFamily="34" charset="77"/>
              </a:rPr>
              <a:t>adipiscing</a:t>
            </a:r>
            <a:r>
              <a:rPr lang="es-ES" sz="1400">
                <a:latin typeface="Graphik" panose="020B0503030202060203" pitchFamily="34" charset="77"/>
              </a:rPr>
              <a:t> </a:t>
            </a:r>
            <a:r>
              <a:rPr lang="es-ES" sz="1400" err="1">
                <a:latin typeface="Graphik" panose="020B0503030202060203" pitchFamily="34" charset="77"/>
              </a:rPr>
              <a:t>elit</a:t>
            </a:r>
            <a:r>
              <a:rPr lang="es-ES" sz="1400">
                <a:latin typeface="Graphik" panose="020B0503030202060203" pitchFamily="34" charset="77"/>
              </a:rPr>
              <a:t>, sed </a:t>
            </a:r>
            <a:r>
              <a:rPr lang="es-ES" sz="1400" err="1">
                <a:latin typeface="Graphik" panose="020B0503030202060203" pitchFamily="34" charset="77"/>
              </a:rPr>
              <a:t>diam</a:t>
            </a:r>
            <a:r>
              <a:rPr lang="es-ES" sz="1400">
                <a:latin typeface="Graphik" panose="020B0503030202060203" pitchFamily="34" charset="77"/>
              </a:rPr>
              <a:t> </a:t>
            </a:r>
            <a:r>
              <a:rPr lang="es-ES" sz="1400" err="1">
                <a:latin typeface="Graphik" panose="020B0503030202060203" pitchFamily="34" charset="77"/>
              </a:rPr>
              <a:t>nonummy</a:t>
            </a:r>
            <a:r>
              <a:rPr lang="es-ES" sz="1400">
                <a:latin typeface="Graphik" panose="020B0503030202060203" pitchFamily="34" charset="77"/>
              </a:rPr>
              <a:t> </a:t>
            </a:r>
            <a:r>
              <a:rPr lang="es-ES" sz="1400" err="1">
                <a:latin typeface="Graphik" panose="020B0503030202060203" pitchFamily="34" charset="77"/>
              </a:rPr>
              <a:t>nibh</a:t>
            </a:r>
            <a:r>
              <a:rPr lang="es-ES" sz="1400">
                <a:latin typeface="Graphik" panose="020B0503030202060203" pitchFamily="34" charset="77"/>
              </a:rPr>
              <a:t> </a:t>
            </a:r>
            <a:r>
              <a:rPr lang="es-ES" sz="1400" err="1">
                <a:latin typeface="Graphik" panose="020B0503030202060203" pitchFamily="34" charset="77"/>
              </a:rPr>
              <a:t>euismod</a:t>
            </a:r>
            <a:r>
              <a:rPr lang="es-ES" sz="1400">
                <a:latin typeface="Graphik" panose="020B0503030202060203" pitchFamily="34" charset="77"/>
              </a:rPr>
              <a:t> </a:t>
            </a:r>
            <a:r>
              <a:rPr lang="es-ES" sz="1400" err="1">
                <a:latin typeface="Graphik" panose="020B0503030202060203" pitchFamily="34" charset="77"/>
              </a:rPr>
              <a:t>tincidunt</a:t>
            </a:r>
            <a:r>
              <a:rPr lang="es-ES" sz="1400">
                <a:latin typeface="Graphik" panose="020B0503030202060203" pitchFamily="34" charset="77"/>
              </a:rPr>
              <a:t> ut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 </a:t>
            </a:r>
            <a:r>
              <a:rPr lang="es-ES" sz="1400" err="1">
                <a:latin typeface="Graphik" panose="020B0503030202060203" pitchFamily="34" charset="77"/>
              </a:rPr>
              <a:t>laoreet</a:t>
            </a:r>
            <a:r>
              <a:rPr lang="es-ES" sz="1400">
                <a:latin typeface="Graphik" panose="020B0503030202060203" pitchFamily="34" charset="77"/>
              </a:rPr>
              <a:t> </a:t>
            </a:r>
            <a:r>
              <a:rPr lang="es-ES" sz="1400" err="1">
                <a:latin typeface="Graphik" panose="020B0503030202060203" pitchFamily="34" charset="77"/>
              </a:rPr>
              <a:t>dolore</a:t>
            </a:r>
            <a:r>
              <a:rPr lang="es-ES" sz="1400">
                <a:latin typeface="Graphik" panose="020B0503030202060203" pitchFamily="34" charset="77"/>
              </a:rPr>
              <a:t> magna </a:t>
            </a:r>
            <a:r>
              <a:rPr lang="es-ES" sz="1400" err="1">
                <a:latin typeface="Graphik" panose="020B0503030202060203" pitchFamily="34" charset="77"/>
              </a:rPr>
              <a:t>aliquam</a:t>
            </a:r>
            <a:r>
              <a:rPr lang="es-ES" sz="1400">
                <a:latin typeface="Graphik" panose="020B0503030202060203" pitchFamily="34" charset="77"/>
              </a:rPr>
              <a:t> </a:t>
            </a:r>
            <a:r>
              <a:rPr lang="es-ES" sz="1400" err="1">
                <a:latin typeface="Graphik" panose="020B0503030202060203" pitchFamily="34" charset="77"/>
              </a:rPr>
              <a:t>volutpat</a:t>
            </a:r>
            <a:r>
              <a:rPr lang="es-ES" sz="1400">
                <a:latin typeface="Graphik" panose="020B0503030202060203" pitchFamily="34" charset="77"/>
              </a:rPr>
              <a:t>.</a:t>
            </a:r>
            <a:endParaRPr lang="es-ES"/>
          </a:p>
        </p:txBody>
      </p:sp>
      <p:sp>
        <p:nvSpPr>
          <p:cNvPr id="5" name="Marcador de texto 2">
            <a:extLst>
              <a:ext uri="{FF2B5EF4-FFF2-40B4-BE49-F238E27FC236}">
                <a16:creationId xmlns:a16="http://schemas.microsoft.com/office/drawing/2014/main" id="{55D3F657-13BB-967F-FBCA-4620223A4AD6}"/>
              </a:ext>
            </a:extLst>
          </p:cNvPr>
          <p:cNvSpPr>
            <a:spLocks noGrp="1"/>
          </p:cNvSpPr>
          <p:nvPr>
            <p:ph type="body" sz="quarter" idx="20" hasCustomPrompt="1"/>
          </p:nvPr>
        </p:nvSpPr>
        <p:spPr>
          <a:xfrm>
            <a:off x="555308" y="354385"/>
            <a:ext cx="5934944" cy="4107176"/>
          </a:xfrm>
          <a:prstGeom prst="rect">
            <a:avLst/>
          </a:prstGeom>
        </p:spPr>
        <p:txBody>
          <a:bodyPr anchor="b"/>
          <a:lstStyle>
            <a:lvl1pPr marL="0" indent="0">
              <a:lnSpc>
                <a:spcPts val="14000"/>
              </a:lnSpc>
              <a:buNone/>
              <a:defRPr sz="15000" b="1" i="0">
                <a:solidFill>
                  <a:schemeClr val="bg1"/>
                </a:solidFill>
                <a:latin typeface="Arial Narrow" panose="020B0604020202020204" pitchFamily="34" charset="0"/>
                <a:cs typeface="Graphik Medium" pitchFamily="2" charset="77"/>
              </a:defRPr>
            </a:lvl1pPr>
          </a:lstStyle>
          <a:p>
            <a:pPr lvl="0"/>
            <a:r>
              <a:rPr lang="es-ES"/>
              <a:t>T700</a:t>
            </a:r>
          </a:p>
          <a:p>
            <a:pPr lvl="0"/>
            <a:r>
              <a:rPr lang="es-ES"/>
              <a:t>SERIES</a:t>
            </a:r>
          </a:p>
        </p:txBody>
      </p:sp>
    </p:spTree>
    <p:extLst>
      <p:ext uri="{BB962C8B-B14F-4D97-AF65-F5344CB8AC3E}">
        <p14:creationId xmlns:p14="http://schemas.microsoft.com/office/powerpoint/2010/main" val="220388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Backcover White">
    <p:bg>
      <p:bgPr>
        <a:solidFill>
          <a:schemeClr val="bg1"/>
        </a:solidFill>
        <a:effectLst/>
      </p:bgPr>
    </p:bg>
    <p:spTree>
      <p:nvGrpSpPr>
        <p:cNvPr id="1" name=""/>
        <p:cNvGrpSpPr/>
        <p:nvPr/>
      </p:nvGrpSpPr>
      <p:grpSpPr>
        <a:xfrm>
          <a:off x="0" y="0"/>
          <a:ext cx="0" cy="0"/>
          <a:chOff x="0" y="0"/>
          <a:chExt cx="0" cy="0"/>
        </a:xfrm>
      </p:grpSpPr>
      <p:pic>
        <p:nvPicPr>
          <p:cNvPr id="3" name="Imagen 2" descr="Logotipo&#10;&#10;Descripción generada automáticamente">
            <a:extLst>
              <a:ext uri="{FF2B5EF4-FFF2-40B4-BE49-F238E27FC236}">
                <a16:creationId xmlns:a16="http://schemas.microsoft.com/office/drawing/2014/main" id="{3679C8AB-DF1F-6A48-9FFD-BECC8752A52D}"/>
              </a:ext>
            </a:extLst>
          </p:cNvPr>
          <p:cNvPicPr>
            <a:picLocks noChangeAspect="1"/>
          </p:cNvPicPr>
          <p:nvPr userDrawn="1"/>
        </p:nvPicPr>
        <p:blipFill>
          <a:blip r:embed="rId2"/>
          <a:stretch>
            <a:fillRect/>
          </a:stretch>
        </p:blipFill>
        <p:spPr>
          <a:xfrm>
            <a:off x="8032377" y="2258067"/>
            <a:ext cx="3872751" cy="2341865"/>
          </a:xfrm>
          <a:prstGeom prst="rect">
            <a:avLst/>
          </a:prstGeom>
        </p:spPr>
      </p:pic>
      <p:sp>
        <p:nvSpPr>
          <p:cNvPr id="8" name="Título 1">
            <a:extLst>
              <a:ext uri="{FF2B5EF4-FFF2-40B4-BE49-F238E27FC236}">
                <a16:creationId xmlns:a16="http://schemas.microsoft.com/office/drawing/2014/main" id="{A460A5D1-D07E-73DA-E4AE-41ECF6089888}"/>
              </a:ext>
            </a:extLst>
          </p:cNvPr>
          <p:cNvSpPr>
            <a:spLocks noGrp="1"/>
          </p:cNvSpPr>
          <p:nvPr>
            <p:ph type="title" hasCustomPrompt="1"/>
          </p:nvPr>
        </p:nvSpPr>
        <p:spPr>
          <a:xfrm>
            <a:off x="535611" y="2921282"/>
            <a:ext cx="3301907" cy="999565"/>
          </a:xfrm>
          <a:prstGeom prst="rect">
            <a:avLst/>
          </a:prstGeom>
        </p:spPr>
        <p:txBody>
          <a:bodyPr anchor="ctr"/>
          <a:lstStyle>
            <a:lvl1pPr>
              <a:defRPr sz="3600" b="1" i="0">
                <a:solidFill>
                  <a:srgbClr val="0042ED"/>
                </a:solidFill>
                <a:latin typeface="Arial Narrow" panose="020B0604020202020204" pitchFamily="34" charset="0"/>
              </a:defRPr>
            </a:lvl1pPr>
          </a:lstStyle>
          <a:p>
            <a:r>
              <a:rPr lang="es-ES"/>
              <a:t>THANK YOU</a:t>
            </a:r>
          </a:p>
        </p:txBody>
      </p:sp>
    </p:spTree>
    <p:extLst>
      <p:ext uri="{BB962C8B-B14F-4D97-AF65-F5344CB8AC3E}">
        <p14:creationId xmlns:p14="http://schemas.microsoft.com/office/powerpoint/2010/main" val="3315294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2_Big Text Black">
    <p:bg>
      <p:bgPr>
        <a:solidFill>
          <a:schemeClr val="tx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4" name="Marcador de texto 3">
            <a:extLst>
              <a:ext uri="{FF2B5EF4-FFF2-40B4-BE49-F238E27FC236}">
                <a16:creationId xmlns:a16="http://schemas.microsoft.com/office/drawing/2014/main" id="{598AC176-FABB-3EF3-6D09-981ADDBE2AE7}"/>
              </a:ext>
            </a:extLst>
          </p:cNvPr>
          <p:cNvSpPr>
            <a:spLocks noGrp="1"/>
          </p:cNvSpPr>
          <p:nvPr>
            <p:ph type="body" sz="quarter" idx="13" hasCustomPrompt="1"/>
          </p:nvPr>
        </p:nvSpPr>
        <p:spPr>
          <a:xfrm>
            <a:off x="577004" y="766852"/>
            <a:ext cx="10908262" cy="3641159"/>
          </a:xfrm>
          <a:prstGeom prst="rect">
            <a:avLst/>
          </a:prstGeom>
        </p:spPr>
        <p:txBody>
          <a:bodyPr/>
          <a:lstStyle>
            <a:lvl1pPr marL="0" indent="0">
              <a:buNone/>
              <a:defRPr sz="4000" b="0" i="0">
                <a:solidFill>
                  <a:schemeClr val="bg1"/>
                </a:solidFill>
                <a:latin typeface="Arial" panose="020B0604020202020204" pitchFamily="34" charset="0"/>
                <a:cs typeface="Arial" panose="020B0604020202020204" pitchFamily="34" charset="0"/>
              </a:defRPr>
            </a:lvl1pPr>
          </a:lstStyle>
          <a:p>
            <a:r>
              <a:rPr lang="es-ES" sz="3600" err="1">
                <a:solidFill>
                  <a:schemeClr val="bg1"/>
                </a:solidFill>
                <a:latin typeface="Graphik" pitchFamily="2" charset="77"/>
                <a:cs typeface="Graphik" pitchFamily="2" charset="77"/>
              </a:rPr>
              <a:t>Featuring</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cutting-edg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erodynamics</a:t>
            </a:r>
            <a:r>
              <a:rPr lang="es-ES" sz="3600">
                <a:solidFill>
                  <a:schemeClr val="bg1"/>
                </a:solidFill>
                <a:latin typeface="Graphik" pitchFamily="2" charset="77"/>
                <a:cs typeface="Graphik" pitchFamily="2" charset="77"/>
              </a:rPr>
              <a:t> and </a:t>
            </a:r>
            <a:r>
              <a:rPr lang="es-ES" sz="3600" err="1">
                <a:solidFill>
                  <a:schemeClr val="bg1"/>
                </a:solidFill>
                <a:latin typeface="Graphik" pitchFamily="2" charset="77"/>
                <a:cs typeface="Graphik" pitchFamily="2" charset="77"/>
              </a:rPr>
              <a:t>patented</a:t>
            </a:r>
            <a:r>
              <a:rPr lang="es-ES" sz="3600">
                <a:solidFill>
                  <a:schemeClr val="bg1"/>
                </a:solidFill>
                <a:latin typeface="Graphik" pitchFamily="2" charset="77"/>
                <a:cs typeface="Graphik" pitchFamily="2" charset="77"/>
              </a:rPr>
              <a:t> in 2023 (US </a:t>
            </a:r>
            <a:r>
              <a:rPr lang="es-ES" sz="3600" err="1">
                <a:solidFill>
                  <a:schemeClr val="bg1"/>
                </a:solidFill>
                <a:latin typeface="Graphik" pitchFamily="2" charset="77"/>
                <a:cs typeface="Graphik" pitchFamily="2" charset="77"/>
              </a:rPr>
              <a:t>Patent</a:t>
            </a:r>
            <a:r>
              <a:rPr lang="es-ES" sz="3600">
                <a:solidFill>
                  <a:schemeClr val="bg1"/>
                </a:solidFill>
                <a:latin typeface="Graphik" pitchFamily="2" charset="77"/>
                <a:cs typeface="Graphik" pitchFamily="2" charset="77"/>
              </a:rPr>
              <a:t> No. 1234567),</a:t>
            </a:r>
            <a:br>
              <a:rPr lang="es-ES" sz="3600">
                <a:solidFill>
                  <a:schemeClr val="bg1"/>
                </a:solidFill>
                <a:latin typeface="Graphik" pitchFamily="2" charset="77"/>
                <a:cs typeface="Graphik" pitchFamily="2" charset="77"/>
              </a:rPr>
            </a:br>
            <a:r>
              <a:rPr lang="es-ES" sz="3600" err="1">
                <a:solidFill>
                  <a:schemeClr val="bg1"/>
                </a:solidFill>
                <a:latin typeface="Graphik" pitchFamily="2" charset="77"/>
                <a:cs typeface="Graphik" pitchFamily="2" charset="77"/>
              </a:rPr>
              <a:t>this</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next-generation</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ircraft</a:t>
            </a:r>
            <a:r>
              <a:rPr lang="es-ES" sz="3600">
                <a:solidFill>
                  <a:schemeClr val="bg1"/>
                </a:solidFill>
                <a:latin typeface="Graphik" pitchFamily="2" charset="77"/>
                <a:cs typeface="Graphik" pitchFamily="2" charset="77"/>
              </a:rPr>
              <a:t> turbine </a:t>
            </a:r>
            <a:r>
              <a:rPr lang="es-ES" sz="3600" err="1">
                <a:solidFill>
                  <a:schemeClr val="bg1"/>
                </a:solidFill>
                <a:latin typeface="Graphik" pitchFamily="2" charset="77"/>
                <a:cs typeface="Graphik" pitchFamily="2" charset="77"/>
              </a:rPr>
              <a:t>delivers</a:t>
            </a:r>
            <a:r>
              <a:rPr lang="es-ES" sz="3600">
                <a:solidFill>
                  <a:schemeClr val="bg1"/>
                </a:solidFill>
                <a:latin typeface="Graphik" pitchFamily="2" charset="77"/>
                <a:cs typeface="Graphik" pitchFamily="2" charset="77"/>
              </a:rPr>
              <a:t> 15% </a:t>
            </a:r>
            <a:r>
              <a:rPr lang="es-ES" sz="3600" err="1">
                <a:solidFill>
                  <a:schemeClr val="bg1"/>
                </a:solidFill>
                <a:latin typeface="Graphik" pitchFamily="2" charset="77"/>
                <a:cs typeface="Graphik" pitchFamily="2" charset="77"/>
              </a:rPr>
              <a:t>greater</a:t>
            </a:r>
            <a:r>
              <a:rPr lang="es-ES" sz="3600">
                <a:solidFill>
                  <a:schemeClr val="bg1"/>
                </a:solidFill>
                <a:latin typeface="Graphik" pitchFamily="2" charset="77"/>
                <a:cs typeface="Graphik" pitchFamily="2" charset="77"/>
              </a:rPr>
              <a:t> fuel </a:t>
            </a:r>
            <a:r>
              <a:rPr lang="es-ES" sz="3200" err="1">
                <a:solidFill>
                  <a:schemeClr val="bg1"/>
                </a:solidFill>
                <a:latin typeface="Graphik" pitchFamily="2" charset="77"/>
                <a:cs typeface="Graphik" pitchFamily="2" charset="77"/>
              </a:rPr>
              <a:t>efficiency</a:t>
            </a:r>
            <a:r>
              <a:rPr lang="es-ES" sz="3600">
                <a:solidFill>
                  <a:schemeClr val="bg1"/>
                </a:solidFill>
                <a:latin typeface="Graphik" pitchFamily="2" charset="77"/>
                <a:cs typeface="Graphik" pitchFamily="2" charset="77"/>
              </a:rPr>
              <a:t> and a 10% </a:t>
            </a:r>
            <a:r>
              <a:rPr lang="es-ES" sz="3600" err="1">
                <a:solidFill>
                  <a:schemeClr val="bg1"/>
                </a:solidFill>
                <a:latin typeface="Graphik" pitchFamily="2" charset="77"/>
                <a:cs typeface="Graphik" pitchFamily="2" charset="77"/>
              </a:rPr>
              <a:t>reduction</a:t>
            </a:r>
            <a:r>
              <a:rPr lang="es-ES" sz="3600">
                <a:solidFill>
                  <a:schemeClr val="bg1"/>
                </a:solidFill>
                <a:latin typeface="Graphik" pitchFamily="2" charset="77"/>
                <a:cs typeface="Graphik" pitchFamily="2" charset="77"/>
              </a:rPr>
              <a:t> in </a:t>
            </a:r>
            <a:r>
              <a:rPr lang="es-ES" sz="3600" err="1">
                <a:solidFill>
                  <a:schemeClr val="bg1"/>
                </a:solidFill>
                <a:latin typeface="Graphik" pitchFamily="2" charset="77"/>
                <a:cs typeface="Graphik" pitchFamily="2" charset="77"/>
              </a:rPr>
              <a:t>nois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emissions</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setting</a:t>
            </a:r>
            <a:r>
              <a:rPr lang="es-ES" sz="3600">
                <a:solidFill>
                  <a:schemeClr val="bg1"/>
                </a:solidFill>
                <a:latin typeface="Graphik" pitchFamily="2" charset="77"/>
                <a:cs typeface="Graphik" pitchFamily="2" charset="77"/>
              </a:rPr>
              <a:t> a new standard </a:t>
            </a:r>
            <a:r>
              <a:rPr lang="es-ES" sz="3600" err="1">
                <a:solidFill>
                  <a:schemeClr val="bg1"/>
                </a:solidFill>
                <a:latin typeface="Graphik" pitchFamily="2" charset="77"/>
                <a:cs typeface="Graphik" pitchFamily="2" charset="77"/>
              </a:rPr>
              <a:t>for</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sustainable</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aviation</a:t>
            </a:r>
            <a:r>
              <a:rPr lang="es-ES" sz="3600">
                <a:solidFill>
                  <a:schemeClr val="bg1"/>
                </a:solidFill>
                <a:latin typeface="Graphik" pitchFamily="2" charset="77"/>
                <a:cs typeface="Graphik" pitchFamily="2" charset="77"/>
              </a:rPr>
              <a:t> </a:t>
            </a:r>
            <a:r>
              <a:rPr lang="es-ES" sz="3600" err="1">
                <a:solidFill>
                  <a:schemeClr val="bg1"/>
                </a:solidFill>
                <a:latin typeface="Graphik" pitchFamily="2" charset="77"/>
                <a:cs typeface="Graphik" pitchFamily="2" charset="77"/>
              </a:rPr>
              <a:t>technology</a:t>
            </a:r>
            <a:r>
              <a:rPr lang="es-ES" sz="3600">
                <a:solidFill>
                  <a:schemeClr val="bg1"/>
                </a:solidFill>
                <a:latin typeface="Graphik" pitchFamily="2" charset="77"/>
                <a:cs typeface="Graphik" pitchFamily="2" charset="77"/>
              </a:rPr>
              <a:t>.</a:t>
            </a:r>
          </a:p>
        </p:txBody>
      </p:sp>
      <p:sp>
        <p:nvSpPr>
          <p:cNvPr id="3" name="Marcador de texto 2">
            <a:extLst>
              <a:ext uri="{FF2B5EF4-FFF2-40B4-BE49-F238E27FC236}">
                <a16:creationId xmlns:a16="http://schemas.microsoft.com/office/drawing/2014/main" id="{032325A8-588F-283B-CAF7-DB06B0AA3EC3}"/>
              </a:ext>
            </a:extLst>
          </p:cNvPr>
          <p:cNvSpPr>
            <a:spLocks noGrp="1"/>
          </p:cNvSpPr>
          <p:nvPr>
            <p:ph type="body" sz="quarter" idx="14" hasCustomPrompt="1"/>
          </p:nvPr>
        </p:nvSpPr>
        <p:spPr>
          <a:xfrm>
            <a:off x="573088" y="4819597"/>
            <a:ext cx="1828468" cy="508209"/>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lvl="0"/>
            <a:r>
              <a:rPr lang="es-ES"/>
              <a:t>Lore </a:t>
            </a:r>
            <a:r>
              <a:rPr lang="es-ES" err="1"/>
              <a:t>ipsum</a:t>
            </a:r>
            <a:r>
              <a:rPr lang="es-ES"/>
              <a:t> dolor</a:t>
            </a:r>
          </a:p>
        </p:txBody>
      </p:sp>
      <p:sp>
        <p:nvSpPr>
          <p:cNvPr id="5" name="Marcador de texto 2">
            <a:extLst>
              <a:ext uri="{FF2B5EF4-FFF2-40B4-BE49-F238E27FC236}">
                <a16:creationId xmlns:a16="http://schemas.microsoft.com/office/drawing/2014/main" id="{1B445507-287E-63DA-0A64-DDB24DC5A2B9}"/>
              </a:ext>
            </a:extLst>
          </p:cNvPr>
          <p:cNvSpPr>
            <a:spLocks noGrp="1"/>
          </p:cNvSpPr>
          <p:nvPr>
            <p:ph type="body" sz="quarter" idx="15" hasCustomPrompt="1"/>
          </p:nvPr>
        </p:nvSpPr>
        <p:spPr>
          <a:xfrm>
            <a:off x="3205755" y="4819597"/>
            <a:ext cx="3235237" cy="508209"/>
          </a:xfrm>
          <a:prstGeom prst="rect">
            <a:avLst/>
          </a:prstGeom>
        </p:spPr>
        <p:txBody>
          <a:bodyPr/>
          <a:lstStyle>
            <a:lvl1pPr marL="0" indent="0">
              <a:buNone/>
              <a:defRPr sz="1200" b="0" i="0">
                <a:solidFill>
                  <a:schemeClr val="bg1"/>
                </a:solidFill>
                <a:latin typeface="Arial" panose="020B0604020202020204" pitchFamily="34" charset="0"/>
                <a:cs typeface="Arial" panose="020B0604020202020204" pitchFamily="34" charset="0"/>
              </a:defRPr>
            </a:lvl1pPr>
          </a:lstStyle>
          <a:p>
            <a:pPr>
              <a:defRPr/>
            </a:pPr>
            <a:r>
              <a:rPr kumimoji="0" lang="es-ES" sz="1200" b="0" i="0" u="none" strike="noStrike" kern="1200" cap="none" spc="0" normalizeH="0" baseline="0" noProof="0">
                <a:ln>
                  <a:noFill/>
                </a:ln>
                <a:effectLst/>
                <a:uLnTx/>
                <a:uFillTx/>
                <a:latin typeface="Graphik" pitchFamily="2" charset="77"/>
                <a:ea typeface="+mn-ea"/>
                <a:cs typeface="Graphik" pitchFamily="2" charset="77"/>
              </a:rPr>
              <a:t>Tex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of</a:t>
            </a:r>
            <a:r>
              <a:rPr kumimoji="0" lang="es-ES" sz="1200" b="0" i="0" u="none" strike="noStrike" kern="1200" cap="none" spc="0" normalizeH="0" baseline="0" noProof="0">
                <a:ln>
                  <a:noFill/>
                </a:ln>
                <a:effectLst/>
                <a:uLnTx/>
                <a:uFillTx/>
                <a:latin typeface="Graphik" pitchFamily="2" charset="77"/>
                <a:ea typeface="+mn-ea"/>
                <a:cs typeface="Graphik" pitchFamily="2" charset="77"/>
              </a:rPr>
              <a:t> </a:t>
            </a:r>
            <a:r>
              <a:rPr kumimoji="0" lang="es-ES" sz="1200" b="0" i="0" u="none" strike="noStrike" kern="1200" cap="none" spc="0" normalizeH="0" baseline="0" noProof="0" err="1">
                <a:ln>
                  <a:noFill/>
                </a:ln>
                <a:effectLst/>
                <a:uLnTx/>
                <a:uFillTx/>
                <a:latin typeface="Graphik" pitchFamily="2" charset="77"/>
                <a:ea typeface="+mn-ea"/>
                <a:cs typeface="Graphik" pitchFamily="2" charset="77"/>
              </a:rPr>
              <a:t>exampl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ring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bes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f</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our</a:t>
            </a:r>
            <a:r>
              <a:rPr kumimoji="0" lang="es-ES" sz="1200" b="0" i="0" u="none" strike="noStrike" kern="1200" cap="none" spc="0" normalizeH="0" baseline="0" noProof="0">
                <a:ln>
                  <a:noFill/>
                </a:ln>
                <a:effectLst/>
                <a:uLnTx/>
                <a:uFillTx/>
                <a:latin typeface="Graphik" panose="020B0503030202060203" pitchFamily="34" charset="77"/>
                <a:ea typeface="+mn-ea"/>
                <a:cs typeface="+mn-cs"/>
              </a:rPr>
              <a:t> innovative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pirit</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nd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generati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shared</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valu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long</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the</a:t>
            </a:r>
            <a:r>
              <a:rPr kumimoji="0" lang="es-ES" sz="1200" b="0" i="0" u="none" strike="noStrike" kern="1200" cap="none" spc="0" normalizeH="0" baseline="0" noProof="0">
                <a:ln>
                  <a:noFill/>
                </a:ln>
                <a:effectLst/>
                <a:uLnTx/>
                <a:uFillTx/>
                <a:latin typeface="Graphik" panose="020B0503030202060203" pitchFamily="34" charset="77"/>
                <a:ea typeface="+mn-ea"/>
                <a:cs typeface="+mn-cs"/>
              </a:rPr>
              <a:t> bar in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aviation</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Every</a:t>
            </a:r>
            <a:r>
              <a:rPr kumimoji="0" lang="es-ES" sz="1200" b="0" i="0" u="none" strike="noStrike" kern="1200" cap="none" spc="0" normalizeH="0" baseline="0" noProof="0">
                <a:ln>
                  <a:noFill/>
                </a:ln>
                <a:effectLst/>
                <a:uLnTx/>
                <a:uFillTx/>
                <a:latin typeface="Graphik" panose="020B0503030202060203" pitchFamily="34" charset="77"/>
                <a:ea typeface="+mn-ea"/>
                <a:cs typeface="+mn-cs"/>
              </a:rPr>
              <a:t> </a:t>
            </a:r>
            <a:r>
              <a:rPr kumimoji="0" lang="es-ES" sz="1200" b="0" i="0" u="none" strike="noStrike" kern="1200" cap="none" spc="0" normalizeH="0" baseline="0" noProof="0" err="1">
                <a:ln>
                  <a:noFill/>
                </a:ln>
                <a:effectLst/>
                <a:uLnTx/>
                <a:uFillTx/>
                <a:latin typeface="Graphik" panose="020B0503030202060203" pitchFamily="34" charset="77"/>
                <a:ea typeface="+mn-ea"/>
                <a:cs typeface="+mn-cs"/>
              </a:rPr>
              <a:t>day</a:t>
            </a:r>
            <a:r>
              <a:rPr kumimoji="0" lang="es-ES" sz="1200" b="0" i="0" u="none" strike="noStrike" kern="1200" cap="none" spc="0" normalizeH="0" baseline="0" noProof="0">
                <a:ln>
                  <a:noFill/>
                </a:ln>
                <a:effectLst/>
                <a:uLnTx/>
                <a:uFillTx/>
                <a:latin typeface="Graphik" panose="020B0503030202060203" pitchFamily="34" charset="77"/>
                <a:ea typeface="+mn-ea"/>
                <a:cs typeface="+mn-cs"/>
              </a:rPr>
              <a:t>.</a:t>
            </a:r>
          </a:p>
        </p:txBody>
      </p:sp>
      <p:pic>
        <p:nvPicPr>
          <p:cNvPr id="8" name="Imagen 1">
            <a:extLst>
              <a:ext uri="{FF2B5EF4-FFF2-40B4-BE49-F238E27FC236}">
                <a16:creationId xmlns:a16="http://schemas.microsoft.com/office/drawing/2014/main" id="{A141AC08-FC49-1D9C-9E42-C0A9078F6DDD}"/>
              </a:ext>
            </a:extLst>
          </p:cNvPr>
          <p:cNvPicPr/>
          <p:nvPr userDrawn="1"/>
        </p:nvPicPr>
        <p:blipFill>
          <a:blip r:embed="rId2"/>
          <a:stretch>
            <a:fillRect/>
          </a:stretch>
        </p:blipFill>
        <p:spPr>
          <a:xfrm>
            <a:off x="653742" y="6320455"/>
            <a:ext cx="663716" cy="293070"/>
          </a:xfrm>
          <a:prstGeom prst="rect">
            <a:avLst/>
          </a:prstGeom>
        </p:spPr>
      </p:pic>
    </p:spTree>
    <p:extLst>
      <p:ext uri="{BB962C8B-B14F-4D97-AF65-F5344CB8AC3E}">
        <p14:creationId xmlns:p14="http://schemas.microsoft.com/office/powerpoint/2010/main" val="10968228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63_Big Text Black">
    <p:bg>
      <p:bgPr>
        <a:solidFill>
          <a:schemeClr val="tx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Rectángulo 2">
            <a:extLst>
              <a:ext uri="{FF2B5EF4-FFF2-40B4-BE49-F238E27FC236}">
                <a16:creationId xmlns:a16="http://schemas.microsoft.com/office/drawing/2014/main" id="{3FBB2D51-039E-B4F8-FE28-990ABFD2770C}"/>
              </a:ext>
            </a:extLst>
          </p:cNvPr>
          <p:cNvSpPr/>
          <p:nvPr userDrawn="1"/>
        </p:nvSpPr>
        <p:spPr>
          <a:xfrm>
            <a:off x="534989" y="380683"/>
            <a:ext cx="1239567" cy="53371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 name="Imagen 1">
            <a:extLst>
              <a:ext uri="{FF2B5EF4-FFF2-40B4-BE49-F238E27FC236}">
                <a16:creationId xmlns:a16="http://schemas.microsoft.com/office/drawing/2014/main" id="{92889267-31E8-6239-B99E-7FABA3306226}"/>
              </a:ext>
            </a:extLst>
          </p:cNvPr>
          <p:cNvPicPr/>
          <p:nvPr userDrawn="1"/>
        </p:nvPicPr>
        <p:blipFill>
          <a:blip r:embed="rId2"/>
          <a:stretch>
            <a:fillRect/>
          </a:stretch>
        </p:blipFill>
        <p:spPr>
          <a:xfrm>
            <a:off x="653742" y="6320455"/>
            <a:ext cx="663716" cy="293070"/>
          </a:xfrm>
          <a:prstGeom prst="rect">
            <a:avLst/>
          </a:prstGeom>
        </p:spPr>
      </p:pic>
      <p:sp>
        <p:nvSpPr>
          <p:cNvPr id="4" name="Marcador de texto 11">
            <a:extLst>
              <a:ext uri="{FF2B5EF4-FFF2-40B4-BE49-F238E27FC236}">
                <a16:creationId xmlns:a16="http://schemas.microsoft.com/office/drawing/2014/main" id="{09D9A8F8-1DFB-03EF-CD2C-582B67040597}"/>
              </a:ext>
            </a:extLst>
          </p:cNvPr>
          <p:cNvSpPr>
            <a:spLocks noGrp="1"/>
          </p:cNvSpPr>
          <p:nvPr>
            <p:ph type="body" sz="quarter" idx="13" hasCustomPrompt="1"/>
          </p:nvPr>
        </p:nvSpPr>
        <p:spPr>
          <a:xfrm>
            <a:off x="613317" y="647541"/>
            <a:ext cx="10620375" cy="4491823"/>
          </a:xfrm>
          <a:prstGeom prst="rect">
            <a:avLst/>
          </a:prstGeom>
        </p:spPr>
        <p:txBody>
          <a:bodyPr anchor="t"/>
          <a:lstStyle>
            <a:lvl1pPr marL="0" indent="0">
              <a:buNone/>
              <a:defRPr sz="4800" b="0" i="0">
                <a:solidFill>
                  <a:schemeClr val="bg1"/>
                </a:solidFill>
                <a:latin typeface="Arial" panose="020B0604020202020204" pitchFamily="34" charset="0"/>
                <a:cs typeface="Arial" panose="020B0604020202020204" pitchFamily="34" charset="0"/>
              </a:defRPr>
            </a:lvl1pPr>
          </a:lstStyle>
          <a:p>
            <a:r>
              <a:rPr lang="es-ES" sz="4800">
                <a:solidFill>
                  <a:schemeClr val="bg1"/>
                </a:solidFill>
                <a:latin typeface="Graphik" pitchFamily="2" charset="77"/>
                <a:cs typeface="Graphik" pitchFamily="2" charset="77"/>
              </a:rPr>
              <a:t>"</a:t>
            </a:r>
            <a:r>
              <a:rPr lang="es-ES" sz="4800" err="1">
                <a:solidFill>
                  <a:schemeClr val="bg1"/>
                </a:solidFill>
                <a:latin typeface="Graphik" pitchFamily="2" charset="77"/>
                <a:cs typeface="Graphik" pitchFamily="2" charset="77"/>
              </a:rPr>
              <a:t>Work</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on</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most</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mpactful</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eam</a:t>
            </a:r>
            <a:r>
              <a:rPr lang="es-ES" sz="4800">
                <a:solidFill>
                  <a:schemeClr val="bg1"/>
                </a:solidFill>
                <a:latin typeface="Graphik" pitchFamily="2" charset="77"/>
                <a:cs typeface="Graphik" pitchFamily="2" charset="77"/>
              </a:rPr>
              <a:t> in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ndustry</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best</a:t>
            </a:r>
            <a:r>
              <a:rPr lang="es-ES" sz="4800">
                <a:solidFill>
                  <a:schemeClr val="bg1"/>
                </a:solidFill>
                <a:latin typeface="Graphik" pitchFamily="2" charset="77"/>
                <a:cs typeface="Graphik" pitchFamily="2" charset="77"/>
              </a:rPr>
              <a:t> place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accelerat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you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areer</a:t>
            </a:r>
            <a:r>
              <a:rPr lang="es-ES" sz="4800">
                <a:solidFill>
                  <a:schemeClr val="bg1"/>
                </a:solidFill>
                <a:latin typeface="Graphik" pitchFamily="2" charset="77"/>
                <a:cs typeface="Graphik" pitchFamily="2" charset="77"/>
              </a:rPr>
              <a:t>.</a:t>
            </a:r>
            <a:br>
              <a:rPr lang="es-ES" sz="4800">
                <a:solidFill>
                  <a:schemeClr val="bg1"/>
                </a:solidFill>
                <a:latin typeface="Graphik" pitchFamily="2" charset="77"/>
                <a:cs typeface="Graphik" pitchFamily="2" charset="77"/>
              </a:rPr>
            </a:br>
            <a:r>
              <a:rPr lang="es-ES" sz="4800" err="1">
                <a:solidFill>
                  <a:schemeClr val="bg1"/>
                </a:solidFill>
                <a:latin typeface="Graphik" pitchFamily="2" charset="77"/>
                <a:cs typeface="Graphik" pitchFamily="2" charset="77"/>
              </a:rPr>
              <a:t>Bette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engineering</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reate</a:t>
            </a:r>
            <a:r>
              <a:rPr lang="es-ES" sz="4800">
                <a:solidFill>
                  <a:schemeClr val="bg1"/>
                </a:solidFill>
                <a:latin typeface="Graphik" pitchFamily="2" charset="77"/>
                <a:cs typeface="Graphik" pitchFamily="2" charset="77"/>
              </a:rPr>
              <a:t> innovative </a:t>
            </a:r>
            <a:r>
              <a:rPr lang="es-ES" sz="4800" err="1">
                <a:solidFill>
                  <a:schemeClr val="bg1"/>
                </a:solidFill>
                <a:latin typeface="Graphik" pitchFamily="2" charset="77"/>
                <a:cs typeface="Graphik" pitchFamily="2" charset="77"/>
              </a:rPr>
              <a:t>products</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solutions</a:t>
            </a:r>
            <a:r>
              <a:rPr lang="es-ES" sz="4800">
                <a:solidFill>
                  <a:schemeClr val="bg1"/>
                </a:solidFill>
                <a:latin typeface="Graphik" pitchFamily="2" charset="77"/>
                <a:cs typeface="Graphik" pitchFamily="2" charset="77"/>
              </a:rPr>
              <a:t>."</a:t>
            </a:r>
          </a:p>
        </p:txBody>
      </p:sp>
    </p:spTree>
    <p:extLst>
      <p:ext uri="{BB962C8B-B14F-4D97-AF65-F5344CB8AC3E}">
        <p14:creationId xmlns:p14="http://schemas.microsoft.com/office/powerpoint/2010/main" val="5897673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70_Movement">
    <p:bg>
      <p:bgPr>
        <a:solidFill>
          <a:schemeClr val="tx1"/>
        </a:solidFill>
        <a:effectLst/>
      </p:bgPr>
    </p:bg>
    <p:spTree>
      <p:nvGrpSpPr>
        <p:cNvPr id="1" name=""/>
        <p:cNvGrpSpPr/>
        <p:nvPr/>
      </p:nvGrpSpPr>
      <p:grpSpPr>
        <a:xfrm>
          <a:off x="0" y="0"/>
          <a:ext cx="0" cy="0"/>
          <a:chOff x="0" y="0"/>
          <a:chExt cx="0" cy="0"/>
        </a:xfrm>
      </p:grpSpPr>
      <p:sp>
        <p:nvSpPr>
          <p:cNvPr id="2" name="Rectángulo 1"/>
          <p:cNvSpPr/>
          <p:nvPr userDrawn="1"/>
        </p:nvSpPr>
        <p:spPr>
          <a:xfrm>
            <a:off x="223284" y="6188149"/>
            <a:ext cx="1265274" cy="53332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Rectángulo 7">
            <a:extLst>
              <a:ext uri="{FF2B5EF4-FFF2-40B4-BE49-F238E27FC236}">
                <a16:creationId xmlns:a16="http://schemas.microsoft.com/office/drawing/2014/main" id="{3F0426F6-57C3-205A-0699-AED26F25C018}"/>
              </a:ext>
            </a:extLst>
          </p:cNvPr>
          <p:cNvSpPr/>
          <p:nvPr userDrawn="1"/>
        </p:nvSpPr>
        <p:spPr>
          <a:xfrm>
            <a:off x="534989" y="380683"/>
            <a:ext cx="1239567" cy="53371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 name="Imagen 4">
            <a:extLst>
              <a:ext uri="{FF2B5EF4-FFF2-40B4-BE49-F238E27FC236}">
                <a16:creationId xmlns:a16="http://schemas.microsoft.com/office/drawing/2014/main" id="{89BC45EF-5FC1-8DA2-0FF6-5F92ADC2ADEC}"/>
              </a:ext>
            </a:extLst>
          </p:cNvPr>
          <p:cNvPicPr>
            <a:picLocks noChangeAspect="1"/>
          </p:cNvPicPr>
          <p:nvPr userDrawn="1"/>
        </p:nvPicPr>
        <p:blipFill>
          <a:blip r:embed="rId2"/>
          <a:srcRect l="21410" t="22063" r="66714" b="22063"/>
          <a:stretch/>
        </p:blipFill>
        <p:spPr>
          <a:xfrm>
            <a:off x="5727470" y="0"/>
            <a:ext cx="6464530" cy="6857999"/>
          </a:xfrm>
          <a:prstGeom prst="rect">
            <a:avLst/>
          </a:prstGeom>
        </p:spPr>
      </p:pic>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7122948" y="1068184"/>
            <a:ext cx="3673574" cy="4721629"/>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pic>
        <p:nvPicPr>
          <p:cNvPr id="4" name="Imagen 1">
            <a:extLst>
              <a:ext uri="{FF2B5EF4-FFF2-40B4-BE49-F238E27FC236}">
                <a16:creationId xmlns:a16="http://schemas.microsoft.com/office/drawing/2014/main" id="{D675861D-4527-8AB6-0C6A-51A2B8CED9DB}"/>
              </a:ext>
            </a:extLst>
          </p:cNvPr>
          <p:cNvPicPr/>
          <p:nvPr userDrawn="1"/>
        </p:nvPicPr>
        <p:blipFill>
          <a:blip r:embed="rId3"/>
          <a:stretch>
            <a:fillRect/>
          </a:stretch>
        </p:blipFill>
        <p:spPr>
          <a:xfrm>
            <a:off x="660297" y="6335084"/>
            <a:ext cx="663716" cy="293070"/>
          </a:xfrm>
          <a:prstGeom prst="rect">
            <a:avLst/>
          </a:prstGeom>
        </p:spPr>
      </p:pic>
      <p:sp>
        <p:nvSpPr>
          <p:cNvPr id="13"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8" y="339982"/>
            <a:ext cx="4586138" cy="1179872"/>
          </a:xfrm>
          <a:prstGeom prst="rect">
            <a:avLst/>
          </a:prstGeom>
        </p:spPr>
        <p:txBody>
          <a:bodyPr/>
          <a:lstStyle>
            <a:lvl1pPr marL="0" indent="0">
              <a:buNone/>
              <a:defRPr sz="3200" b="1" i="0">
                <a:solidFill>
                  <a:schemeClr val="bg2"/>
                </a:solidFill>
                <a:latin typeface="Arial Narrow" panose="020B0604020202020204" pitchFamily="34" charset="0"/>
              </a:defRPr>
            </a:lvl1pPr>
          </a:lstStyle>
          <a:p>
            <a:pPr lvl="0"/>
            <a:r>
              <a:rPr lang="es-ES"/>
              <a:t>TITLE ALWAYS IN CAPITAL LETTERS</a:t>
            </a:r>
          </a:p>
        </p:txBody>
      </p:sp>
      <p:sp>
        <p:nvSpPr>
          <p:cNvPr id="9" name="Marcador de texto 4">
            <a:extLst>
              <a:ext uri="{FF2B5EF4-FFF2-40B4-BE49-F238E27FC236}">
                <a16:creationId xmlns:a16="http://schemas.microsoft.com/office/drawing/2014/main" id="{2204C7C1-7CBB-E735-9819-39B7C1FD34ED}"/>
              </a:ext>
            </a:extLst>
          </p:cNvPr>
          <p:cNvSpPr>
            <a:spLocks noGrp="1"/>
          </p:cNvSpPr>
          <p:nvPr>
            <p:ph type="body" sz="quarter" idx="18"/>
          </p:nvPr>
        </p:nvSpPr>
        <p:spPr>
          <a:xfrm>
            <a:off x="555624" y="1733550"/>
            <a:ext cx="4585821" cy="4316413"/>
          </a:xfrm>
          <a:prstGeom prst="rect">
            <a:avLst/>
          </a:prstGeom>
        </p:spPr>
        <p:txBody>
          <a:bodyPr/>
          <a:lstStyle>
            <a:lvl1pPr>
              <a:defRPr sz="1400">
                <a:solidFill>
                  <a:schemeClr val="bg2"/>
                </a:solidFill>
              </a:defRPr>
            </a:lvl1pPr>
            <a:lvl2pPr>
              <a:defRPr sz="1200">
                <a:solidFill>
                  <a:schemeClr val="bg2"/>
                </a:solidFill>
              </a:defRPr>
            </a:lvl2pPr>
            <a:lvl3pPr>
              <a:defRPr sz="1050">
                <a:solidFill>
                  <a:schemeClr val="bg2"/>
                </a:solidFill>
              </a:defRPr>
            </a:lvl3pPr>
            <a:lvl4pPr>
              <a:defRPr sz="1200"/>
            </a:lvl4pPr>
            <a:lvl5pPr>
              <a:defRPr sz="1200"/>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3579116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71_Movement">
    <p:bg>
      <p:bgPr>
        <a:solidFill>
          <a:schemeClr val="tx1"/>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3F0426F6-57C3-205A-0699-AED26F25C018}"/>
              </a:ext>
            </a:extLst>
          </p:cNvPr>
          <p:cNvSpPr/>
          <p:nvPr userDrawn="1"/>
        </p:nvSpPr>
        <p:spPr>
          <a:xfrm>
            <a:off x="534989" y="380683"/>
            <a:ext cx="1239567" cy="53371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 name="Imagen 4">
            <a:extLst>
              <a:ext uri="{FF2B5EF4-FFF2-40B4-BE49-F238E27FC236}">
                <a16:creationId xmlns:a16="http://schemas.microsoft.com/office/drawing/2014/main" id="{89BC45EF-5FC1-8DA2-0FF6-5F92ADC2ADEC}"/>
              </a:ext>
            </a:extLst>
          </p:cNvPr>
          <p:cNvPicPr>
            <a:picLocks noChangeAspect="1"/>
          </p:cNvPicPr>
          <p:nvPr userDrawn="1"/>
        </p:nvPicPr>
        <p:blipFill>
          <a:blip r:embed="rId2"/>
          <a:srcRect l="21410" t="22063" r="66714" b="22063"/>
          <a:stretch/>
        </p:blipFill>
        <p:spPr>
          <a:xfrm>
            <a:off x="5727470" y="0"/>
            <a:ext cx="6464530" cy="6857999"/>
          </a:xfrm>
          <a:prstGeom prst="rect">
            <a:avLst/>
          </a:prstGeom>
        </p:spPr>
      </p:pic>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pic>
        <p:nvPicPr>
          <p:cNvPr id="3" name="Imagen 1">
            <a:extLst>
              <a:ext uri="{FF2B5EF4-FFF2-40B4-BE49-F238E27FC236}">
                <a16:creationId xmlns:a16="http://schemas.microsoft.com/office/drawing/2014/main" id="{A45727F1-AA64-4A51-FD50-2DCA814CC6C1}"/>
              </a:ext>
            </a:extLst>
          </p:cNvPr>
          <p:cNvPicPr/>
          <p:nvPr userDrawn="1"/>
        </p:nvPicPr>
        <p:blipFill>
          <a:blip r:embed="rId3"/>
          <a:stretch>
            <a:fillRect/>
          </a:stretch>
        </p:blipFill>
        <p:spPr>
          <a:xfrm>
            <a:off x="653742" y="6320455"/>
            <a:ext cx="663716" cy="293070"/>
          </a:xfrm>
          <a:prstGeom prst="rect">
            <a:avLst/>
          </a:prstGeom>
        </p:spPr>
      </p:pic>
      <p:sp>
        <p:nvSpPr>
          <p:cNvPr id="9"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4585821" cy="1179872"/>
          </a:xfrm>
          <a:prstGeom prst="rect">
            <a:avLst/>
          </a:prstGeom>
        </p:spPr>
        <p:txBody>
          <a:bodyPr/>
          <a:lstStyle>
            <a:lvl1pPr marL="0" indent="0">
              <a:buNone/>
              <a:defRPr sz="3200" b="1" i="0">
                <a:solidFill>
                  <a:schemeClr val="bg2"/>
                </a:solidFill>
                <a:latin typeface="Arial Narrow" panose="020B0604020202020204" pitchFamily="34" charset="0"/>
              </a:defRPr>
            </a:lvl1pPr>
          </a:lstStyle>
          <a:p>
            <a:pPr lvl="0"/>
            <a:r>
              <a:rPr lang="es-ES"/>
              <a:t>TITLE ALWAYS IN CAPITAL LETTERS</a:t>
            </a:r>
          </a:p>
        </p:txBody>
      </p:sp>
      <p:sp>
        <p:nvSpPr>
          <p:cNvPr id="2" name="Marcador de texto 4">
            <a:extLst>
              <a:ext uri="{FF2B5EF4-FFF2-40B4-BE49-F238E27FC236}">
                <a16:creationId xmlns:a16="http://schemas.microsoft.com/office/drawing/2014/main" id="{D5663D69-33FD-1076-EB1B-C6E5E5C8A74A}"/>
              </a:ext>
            </a:extLst>
          </p:cNvPr>
          <p:cNvSpPr>
            <a:spLocks noGrp="1"/>
          </p:cNvSpPr>
          <p:nvPr>
            <p:ph type="body" sz="quarter" idx="18"/>
          </p:nvPr>
        </p:nvSpPr>
        <p:spPr>
          <a:xfrm>
            <a:off x="555624" y="1733550"/>
            <a:ext cx="4585821" cy="4316413"/>
          </a:xfrm>
          <a:prstGeom prst="rect">
            <a:avLst/>
          </a:prstGeom>
        </p:spPr>
        <p:txBody>
          <a:bodyPr/>
          <a:lstStyle>
            <a:lvl1pPr>
              <a:defRPr sz="1400">
                <a:solidFill>
                  <a:schemeClr val="bg2"/>
                </a:solidFill>
              </a:defRPr>
            </a:lvl1pPr>
            <a:lvl2pPr>
              <a:defRPr sz="1200">
                <a:solidFill>
                  <a:schemeClr val="bg2"/>
                </a:solidFill>
              </a:defRPr>
            </a:lvl2pPr>
            <a:lvl3pPr>
              <a:defRPr sz="1050">
                <a:solidFill>
                  <a:schemeClr val="bg2"/>
                </a:solidFill>
              </a:defRPr>
            </a:lvl3pPr>
            <a:lvl4pPr>
              <a:defRPr sz="1200"/>
            </a:lvl4pPr>
            <a:lvl5pPr>
              <a:defRPr sz="1200"/>
            </a:lvl5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2284657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2_Movement">
    <p:bg>
      <p:bgPr>
        <a:solidFill>
          <a:schemeClr val="tx1"/>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89BC45EF-5FC1-8DA2-0FF6-5F92ADC2ADEC}"/>
              </a:ext>
            </a:extLst>
          </p:cNvPr>
          <p:cNvPicPr>
            <a:picLocks noChangeAspect="1"/>
          </p:cNvPicPr>
          <p:nvPr userDrawn="1"/>
        </p:nvPicPr>
        <p:blipFill>
          <a:blip r:embed="rId2"/>
          <a:srcRect l="20946" t="22063" r="56656" b="22063"/>
          <a:stretch/>
        </p:blipFill>
        <p:spPr>
          <a:xfrm>
            <a:off x="0" y="0"/>
            <a:ext cx="12192000" cy="6857999"/>
          </a:xfrm>
          <a:prstGeom prst="rect">
            <a:avLst/>
          </a:prstGeom>
        </p:spPr>
      </p:pic>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2097619" y="1152426"/>
            <a:ext cx="7996761" cy="4626205"/>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pic>
        <p:nvPicPr>
          <p:cNvPr id="4" name="Imagen 1">
            <a:extLst>
              <a:ext uri="{FF2B5EF4-FFF2-40B4-BE49-F238E27FC236}">
                <a16:creationId xmlns:a16="http://schemas.microsoft.com/office/drawing/2014/main" id="{53CCF35D-594D-B2CF-D68A-D151712ABBA1}"/>
              </a:ext>
            </a:extLst>
          </p:cNvPr>
          <p:cNvPicPr/>
          <p:nvPr userDrawn="1"/>
        </p:nvPicPr>
        <p:blipFill>
          <a:blip r:embed="rId3"/>
          <a:stretch>
            <a:fillRect/>
          </a:stretch>
        </p:blipFill>
        <p:spPr>
          <a:xfrm>
            <a:off x="653742" y="6320455"/>
            <a:ext cx="663716" cy="293070"/>
          </a:xfrm>
          <a:prstGeom prst="rect">
            <a:avLst/>
          </a:prstGeom>
        </p:spPr>
      </p:pic>
    </p:spTree>
    <p:extLst>
      <p:ext uri="{BB962C8B-B14F-4D97-AF65-F5344CB8AC3E}">
        <p14:creationId xmlns:p14="http://schemas.microsoft.com/office/powerpoint/2010/main" val="26226342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73_Movement">
    <p:bg>
      <p:bgPr>
        <a:solidFill>
          <a:schemeClr val="tx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Marcador de texto 16">
            <a:extLst>
              <a:ext uri="{FF2B5EF4-FFF2-40B4-BE49-F238E27FC236}">
                <a16:creationId xmlns:a16="http://schemas.microsoft.com/office/drawing/2014/main" id="{419EBCED-DD09-F1A2-2386-E3C417AB4652}"/>
              </a:ext>
            </a:extLst>
          </p:cNvPr>
          <p:cNvSpPr>
            <a:spLocks noGrp="1"/>
          </p:cNvSpPr>
          <p:nvPr>
            <p:ph type="body" sz="quarter" idx="17"/>
          </p:nvPr>
        </p:nvSpPr>
        <p:spPr>
          <a:xfrm>
            <a:off x="7060677" y="923827"/>
            <a:ext cx="4524638" cy="4967926"/>
          </a:xfrm>
          <a:prstGeom prst="rect">
            <a:avLst/>
          </a:prstGeom>
        </p:spPr>
        <p:txBody>
          <a:bodyPr/>
          <a:lstStyle>
            <a:lvl1pPr>
              <a:defRPr sz="14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s-ES"/>
          </a:p>
          <a:p>
            <a:pPr lvl="0"/>
            <a:endParaRPr lang="es-ES"/>
          </a:p>
          <a:p>
            <a:pPr lvl="0"/>
            <a:endParaRPr lang="es-ES"/>
          </a:p>
          <a:p>
            <a:pPr lvl="0"/>
            <a:endParaRPr lang="es-ES"/>
          </a:p>
        </p:txBody>
      </p:sp>
      <p:pic>
        <p:nvPicPr>
          <p:cNvPr id="4" name="Imagen 3">
            <a:extLst>
              <a:ext uri="{FF2B5EF4-FFF2-40B4-BE49-F238E27FC236}">
                <a16:creationId xmlns:a16="http://schemas.microsoft.com/office/drawing/2014/main" id="{6060FABD-9378-7CAC-F4FD-E781BF5A3B89}"/>
              </a:ext>
            </a:extLst>
          </p:cNvPr>
          <p:cNvPicPr>
            <a:picLocks noChangeAspect="1"/>
          </p:cNvPicPr>
          <p:nvPr userDrawn="1"/>
        </p:nvPicPr>
        <p:blipFill>
          <a:blip r:embed="rId2"/>
          <a:srcRect l="20596" t="22063" r="67528" b="22063"/>
          <a:stretch/>
        </p:blipFill>
        <p:spPr>
          <a:xfrm>
            <a:off x="0" y="0"/>
            <a:ext cx="6464530" cy="6857999"/>
          </a:xfrm>
          <a:prstGeom prst="rect">
            <a:avLst/>
          </a:prstGeom>
        </p:spPr>
      </p:pic>
      <p:sp>
        <p:nvSpPr>
          <p:cNvPr id="13"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1028162" y="2590964"/>
            <a:ext cx="4411104" cy="1676071"/>
          </a:xfrm>
          <a:prstGeom prst="rect">
            <a:avLst/>
          </a:prstGeom>
        </p:spPr>
        <p:txBody>
          <a:bodyPr anchor="ctr"/>
          <a:lstStyle>
            <a:lvl1pPr marL="0" indent="0" algn="ctr">
              <a:buNone/>
              <a:defRPr sz="4000" b="1" i="0">
                <a:solidFill>
                  <a:schemeClr val="bg1"/>
                </a:solidFill>
                <a:latin typeface="Arial Narrow" panose="020B0604020202020204" pitchFamily="34" charset="0"/>
              </a:defRPr>
            </a:lvl1pPr>
          </a:lstStyle>
          <a:p>
            <a:pPr lvl="0"/>
            <a:r>
              <a:rPr lang="es-ES"/>
              <a:t>TITLE ALWAYS IN CAPITAL LETTERS</a:t>
            </a:r>
          </a:p>
        </p:txBody>
      </p:sp>
      <p:pic>
        <p:nvPicPr>
          <p:cNvPr id="2" name="Imagen 1">
            <a:extLst>
              <a:ext uri="{FF2B5EF4-FFF2-40B4-BE49-F238E27FC236}">
                <a16:creationId xmlns:a16="http://schemas.microsoft.com/office/drawing/2014/main" id="{697E3CFC-719E-C12B-D225-F0C3D63D4489}"/>
              </a:ext>
            </a:extLst>
          </p:cNvPr>
          <p:cNvPicPr/>
          <p:nvPr userDrawn="1"/>
        </p:nvPicPr>
        <p:blipFill>
          <a:blip r:embed="rId3"/>
          <a:stretch>
            <a:fillRect/>
          </a:stretch>
        </p:blipFill>
        <p:spPr>
          <a:xfrm>
            <a:off x="653742" y="6320455"/>
            <a:ext cx="663716" cy="293070"/>
          </a:xfrm>
          <a:prstGeom prst="rect">
            <a:avLst/>
          </a:prstGeom>
        </p:spPr>
      </p:pic>
    </p:spTree>
    <p:extLst>
      <p:ext uri="{BB962C8B-B14F-4D97-AF65-F5344CB8AC3E}">
        <p14:creationId xmlns:p14="http://schemas.microsoft.com/office/powerpoint/2010/main" val="41636700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74_Movement">
    <p:bg>
      <p:bgPr>
        <a:solidFill>
          <a:schemeClr val="tx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6060FABD-9378-7CAC-F4FD-E781BF5A3B89}"/>
              </a:ext>
            </a:extLst>
          </p:cNvPr>
          <p:cNvPicPr>
            <a:picLocks noChangeAspect="1"/>
          </p:cNvPicPr>
          <p:nvPr userDrawn="1"/>
        </p:nvPicPr>
        <p:blipFill>
          <a:blip r:embed="rId2"/>
          <a:srcRect l="17851" t="25404" r="37673" b="19120"/>
          <a:stretch/>
        </p:blipFill>
        <p:spPr>
          <a:xfrm>
            <a:off x="0" y="1"/>
            <a:ext cx="12192000" cy="3428999"/>
          </a:xfrm>
          <a:prstGeom prst="rect">
            <a:avLst/>
          </a:prstGeom>
        </p:spPr>
      </p:pic>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Marcador de texto 16">
            <a:extLst>
              <a:ext uri="{FF2B5EF4-FFF2-40B4-BE49-F238E27FC236}">
                <a16:creationId xmlns:a16="http://schemas.microsoft.com/office/drawing/2014/main" id="{419EBCED-DD09-F1A2-2386-E3C417AB4652}"/>
              </a:ext>
            </a:extLst>
          </p:cNvPr>
          <p:cNvSpPr>
            <a:spLocks noGrp="1"/>
          </p:cNvSpPr>
          <p:nvPr>
            <p:ph type="body" sz="quarter" idx="17"/>
          </p:nvPr>
        </p:nvSpPr>
        <p:spPr>
          <a:xfrm>
            <a:off x="5147733" y="4291415"/>
            <a:ext cx="6163734" cy="1192359"/>
          </a:xfrm>
          <a:prstGeom prst="rect">
            <a:avLst/>
          </a:prstGeom>
        </p:spPr>
        <p:txBody>
          <a:bodyPr/>
          <a:lstStyle>
            <a:lvl1pPr marL="342900" indent="-342900">
              <a:buFont typeface="+mj-lt"/>
              <a:buAutoNum type="arabicPeriod"/>
              <a:defRPr sz="1600" b="0" i="0">
                <a:solidFill>
                  <a:schemeClr val="bg1"/>
                </a:solidFill>
                <a:latin typeface="Arial" panose="020B0604020202020204" pitchFamily="34" charset="0"/>
                <a:cs typeface="Arial" panose="020B0604020202020204" pitchFamily="34" charset="0"/>
              </a:defRPr>
            </a:lvl1pPr>
          </a:lstStyle>
          <a:p>
            <a:pPr lvl="0"/>
            <a:r>
              <a:rPr lang="es-ES"/>
              <a:t>Haga clic para modifica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s-ES"/>
              <a:t>Haga clic para modifica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s-ES"/>
              <a:t>Haga clic para modifica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endParaRPr lang="es-ES"/>
          </a:p>
          <a:p>
            <a:pPr lvl="0"/>
            <a:endParaRPr lang="es-ES"/>
          </a:p>
          <a:p>
            <a:pPr lvl="0"/>
            <a:endParaRPr lang="es-ES"/>
          </a:p>
          <a:p>
            <a:pPr lvl="0"/>
            <a:endParaRPr lang="es-ES"/>
          </a:p>
          <a:p>
            <a:pPr lvl="0"/>
            <a:endParaRPr lang="es-ES"/>
          </a:p>
        </p:txBody>
      </p:sp>
      <p:sp>
        <p:nvSpPr>
          <p:cNvPr id="2" name="Marcador de texto 2">
            <a:extLst>
              <a:ext uri="{FF2B5EF4-FFF2-40B4-BE49-F238E27FC236}">
                <a16:creationId xmlns:a16="http://schemas.microsoft.com/office/drawing/2014/main" id="{57F0914C-158E-E613-C727-265270F08120}"/>
              </a:ext>
            </a:extLst>
          </p:cNvPr>
          <p:cNvSpPr>
            <a:spLocks noGrp="1"/>
          </p:cNvSpPr>
          <p:nvPr>
            <p:ph type="body" sz="quarter" idx="20" hasCustomPrompt="1"/>
          </p:nvPr>
        </p:nvSpPr>
        <p:spPr>
          <a:xfrm>
            <a:off x="575629" y="4301575"/>
            <a:ext cx="3762692" cy="1192359"/>
          </a:xfrm>
          <a:prstGeom prst="rect">
            <a:avLst/>
          </a:prstGeom>
        </p:spPr>
        <p:txBody>
          <a:bodyPr anchor="t"/>
          <a:lstStyle>
            <a:lvl1pPr marL="0" indent="0">
              <a:lnSpc>
                <a:spcPct val="100000"/>
              </a:lnSpc>
              <a:buNone/>
              <a:defRPr sz="2800" b="1" i="0">
                <a:solidFill>
                  <a:schemeClr val="bg1"/>
                </a:solidFill>
                <a:latin typeface="Arial Narrow" panose="020B0604020202020204" pitchFamily="34" charset="0"/>
                <a:cs typeface="Graphik Medium" pitchFamily="2" charset="77"/>
              </a:defRPr>
            </a:lvl1pPr>
          </a:lstStyle>
          <a:p>
            <a:pPr lvl="0"/>
            <a:r>
              <a:rPr lang="es-ES"/>
              <a:t>TITLE ALWAYS IN CAPITAL LETTERS</a:t>
            </a:r>
          </a:p>
        </p:txBody>
      </p:sp>
      <p:pic>
        <p:nvPicPr>
          <p:cNvPr id="5" name="Imagen 1">
            <a:extLst>
              <a:ext uri="{FF2B5EF4-FFF2-40B4-BE49-F238E27FC236}">
                <a16:creationId xmlns:a16="http://schemas.microsoft.com/office/drawing/2014/main" id="{2C2F22CD-537E-0B7D-574D-2DCBC73F1E80}"/>
              </a:ext>
            </a:extLst>
          </p:cNvPr>
          <p:cNvPicPr/>
          <p:nvPr userDrawn="1"/>
        </p:nvPicPr>
        <p:blipFill>
          <a:blip r:embed="rId3"/>
          <a:stretch>
            <a:fillRect/>
          </a:stretch>
        </p:blipFill>
        <p:spPr>
          <a:xfrm>
            <a:off x="653742" y="6320455"/>
            <a:ext cx="663716" cy="293070"/>
          </a:xfrm>
          <a:prstGeom prst="rect">
            <a:avLst/>
          </a:prstGeom>
        </p:spPr>
      </p:pic>
    </p:spTree>
    <p:extLst>
      <p:ext uri="{BB962C8B-B14F-4D97-AF65-F5344CB8AC3E}">
        <p14:creationId xmlns:p14="http://schemas.microsoft.com/office/powerpoint/2010/main" val="23576219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5_Movement">
    <p:bg>
      <p:bgPr>
        <a:solidFill>
          <a:srgbClr val="0042ED"/>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F3B5B7D9-943E-7EEB-7360-047B2ECE7388}"/>
              </a:ext>
            </a:extLst>
          </p:cNvPr>
          <p:cNvPicPr>
            <a:picLocks noChangeAspect="1"/>
          </p:cNvPicPr>
          <p:nvPr userDrawn="1"/>
        </p:nvPicPr>
        <p:blipFill>
          <a:blip r:embed="rId2"/>
          <a:srcRect l="42264" t="18753" r="25114" b="18594"/>
          <a:stretch/>
        </p:blipFill>
        <p:spPr>
          <a:xfrm>
            <a:off x="0" y="0"/>
            <a:ext cx="12192000" cy="6871856"/>
          </a:xfrm>
          <a:prstGeom prst="rect">
            <a:avLst/>
          </a:prstGeom>
        </p:spPr>
      </p:pic>
      <p:sp>
        <p:nvSpPr>
          <p:cNvPr id="3" name="Marcador de texto 37">
            <a:extLst>
              <a:ext uri="{FF2B5EF4-FFF2-40B4-BE49-F238E27FC236}">
                <a16:creationId xmlns:a16="http://schemas.microsoft.com/office/drawing/2014/main" id="{F71A1B85-118A-2A24-17AB-807FB84AEBC1}"/>
              </a:ext>
            </a:extLst>
          </p:cNvPr>
          <p:cNvSpPr>
            <a:spLocks noGrp="1"/>
          </p:cNvSpPr>
          <p:nvPr>
            <p:ph type="body" sz="quarter" idx="19" hasCustomPrompt="1"/>
          </p:nvPr>
        </p:nvSpPr>
        <p:spPr>
          <a:xfrm>
            <a:off x="2054234" y="3168277"/>
            <a:ext cx="8083532" cy="679210"/>
          </a:xfrm>
          <a:prstGeom prst="rect">
            <a:avLst/>
          </a:prstGeom>
        </p:spPr>
        <p:txBody>
          <a:bodyPr anchor="ctr"/>
          <a:lstStyle>
            <a:lvl1pPr marL="0" indent="0" algn="ctr">
              <a:buNone/>
              <a:defRPr sz="4400" b="1" i="0">
                <a:solidFill>
                  <a:schemeClr val="bg1"/>
                </a:solidFill>
                <a:latin typeface="Arial Narrow" panose="020B0604020202020204" pitchFamily="34" charset="0"/>
              </a:defRPr>
            </a:lvl1pPr>
          </a:lstStyle>
          <a:p>
            <a:pPr algn="ctr"/>
            <a:r>
              <a:rPr lang="es-ES" sz="4400">
                <a:solidFill>
                  <a:schemeClr val="bg1"/>
                </a:solidFill>
                <a:latin typeface="Graphik Compact Medium" pitchFamily="2" charset="77"/>
              </a:rPr>
              <a:t>FLYING FORWARD, TOGETHER</a:t>
            </a:r>
          </a:p>
        </p:txBody>
      </p:sp>
      <p:pic>
        <p:nvPicPr>
          <p:cNvPr id="2" name="Imagen 1">
            <a:extLst>
              <a:ext uri="{FF2B5EF4-FFF2-40B4-BE49-F238E27FC236}">
                <a16:creationId xmlns:a16="http://schemas.microsoft.com/office/drawing/2014/main" id="{FE34FCE2-202F-1F03-C342-C06015B6CD26}"/>
              </a:ext>
            </a:extLst>
          </p:cNvPr>
          <p:cNvPicPr/>
          <p:nvPr userDrawn="1"/>
        </p:nvPicPr>
        <p:blipFill>
          <a:blip r:embed="rId3"/>
          <a:stretch>
            <a:fillRect/>
          </a:stretch>
        </p:blipFill>
        <p:spPr>
          <a:xfrm>
            <a:off x="653742" y="6320455"/>
            <a:ext cx="663716" cy="293070"/>
          </a:xfrm>
          <a:prstGeom prst="rect">
            <a:avLst/>
          </a:prstGeom>
        </p:spPr>
      </p:pic>
    </p:spTree>
    <p:extLst>
      <p:ext uri="{BB962C8B-B14F-4D97-AF65-F5344CB8AC3E}">
        <p14:creationId xmlns:p14="http://schemas.microsoft.com/office/powerpoint/2010/main" val="14222472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76_Movement">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p>
            <a:r>
              <a:rPr lang="es-ES" err="1"/>
              <a:t>Proprietary</a:t>
            </a:r>
            <a:r>
              <a:rPr lang="es-ES"/>
              <a:t> </a:t>
            </a:r>
            <a:r>
              <a:rPr lang="es-ES" err="1"/>
              <a:t>Information</a:t>
            </a:r>
            <a:r>
              <a:rPr lang="es-ES"/>
              <a:t> - </a:t>
            </a:r>
            <a:r>
              <a:rPr lang="es-ES" err="1"/>
              <a:t>Confidential</a:t>
            </a:r>
            <a:endParaRPr lang="es-ES"/>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p>
            <a:fld id="{FF2CED2D-DE01-CB40-AEF5-C9DD7CD06225}" type="slidenum">
              <a:rPr lang="es-ES" smtClean="0"/>
              <a:t>‹Nº›</a:t>
            </a:fld>
            <a:endParaRPr lang="es-ES"/>
          </a:p>
        </p:txBody>
      </p:sp>
      <p:pic>
        <p:nvPicPr>
          <p:cNvPr id="8" name="Imagen 7">
            <a:extLst>
              <a:ext uri="{FF2B5EF4-FFF2-40B4-BE49-F238E27FC236}">
                <a16:creationId xmlns:a16="http://schemas.microsoft.com/office/drawing/2014/main" id="{89BC45EF-5FC1-8DA2-0FF6-5F92ADC2ADEC}"/>
              </a:ext>
            </a:extLst>
          </p:cNvPr>
          <p:cNvPicPr>
            <a:picLocks noChangeAspect="1"/>
          </p:cNvPicPr>
          <p:nvPr userDrawn="1"/>
        </p:nvPicPr>
        <p:blipFill>
          <a:blip r:embed="rId2"/>
          <a:srcRect l="21410" t="22063" r="66714" b="22063"/>
          <a:stretch/>
        </p:blipFill>
        <p:spPr>
          <a:xfrm>
            <a:off x="5727470" y="0"/>
            <a:ext cx="6464530" cy="6857999"/>
          </a:xfrm>
          <a:prstGeom prst="rect">
            <a:avLst/>
          </a:prstGeom>
        </p:spPr>
      </p:pic>
      <p:sp>
        <p:nvSpPr>
          <p:cNvPr id="9" name="Marcador de posición de imagen 2">
            <a:extLst>
              <a:ext uri="{FF2B5EF4-FFF2-40B4-BE49-F238E27FC236}">
                <a16:creationId xmlns:a16="http://schemas.microsoft.com/office/drawing/2014/main" id="{7309B4FE-BB65-C47F-19E4-9B799373EDBA}"/>
              </a:ext>
            </a:extLst>
          </p:cNvPr>
          <p:cNvSpPr>
            <a:spLocks noGrp="1"/>
          </p:cNvSpPr>
          <p:nvPr>
            <p:ph type="pic" sz="quarter" idx="21" hasCustomPrompt="1"/>
          </p:nvPr>
        </p:nvSpPr>
        <p:spPr>
          <a:xfrm>
            <a:off x="7122948" y="1068184"/>
            <a:ext cx="3673574" cy="4721629"/>
          </a:xfrm>
          <a:prstGeom prst="rect">
            <a:avLst/>
          </a:prstGeom>
        </p:spPr>
        <p:txBody>
          <a:bodyPr/>
          <a:lstStyle>
            <a:lvl1pPr marL="0" indent="0">
              <a:buNone/>
              <a:defRPr b="0" i="0">
                <a:solidFill>
                  <a:schemeClr val="bg1"/>
                </a:solidFill>
                <a:latin typeface="Arial" panose="020B0604020202020204" pitchFamily="34" charset="0"/>
                <a:cs typeface="Arial" panose="020B0604020202020204" pitchFamily="34" charset="0"/>
              </a:defRPr>
            </a:lvl1pPr>
          </a:lstStyle>
          <a:p>
            <a:r>
              <a:rPr lang="es-ES"/>
              <a:t>Imagen</a:t>
            </a:r>
          </a:p>
        </p:txBody>
      </p:sp>
      <p:sp>
        <p:nvSpPr>
          <p:cNvPr id="10" name="Marcador de texto 12">
            <a:extLst>
              <a:ext uri="{FF2B5EF4-FFF2-40B4-BE49-F238E27FC236}">
                <a16:creationId xmlns:a16="http://schemas.microsoft.com/office/drawing/2014/main" id="{5ED66C6D-4834-CB4E-DD6F-866035BF6224}"/>
              </a:ext>
            </a:extLst>
          </p:cNvPr>
          <p:cNvSpPr>
            <a:spLocks noGrp="1"/>
          </p:cNvSpPr>
          <p:nvPr>
            <p:ph type="body" sz="quarter" idx="14" hasCustomPrompt="1"/>
          </p:nvPr>
        </p:nvSpPr>
        <p:spPr>
          <a:xfrm>
            <a:off x="555307" y="339982"/>
            <a:ext cx="4829491" cy="1179872"/>
          </a:xfrm>
          <a:prstGeom prst="rect">
            <a:avLst/>
          </a:prstGeom>
        </p:spPr>
        <p:txBody>
          <a:bodyPr/>
          <a:lstStyle>
            <a:lvl1pPr marL="0" indent="0">
              <a:buNone/>
              <a:defRPr sz="3200" b="1" i="0">
                <a:solidFill>
                  <a:srgbClr val="0042ED"/>
                </a:solidFill>
                <a:latin typeface="Arial Narrow" panose="020B0604020202020204" pitchFamily="34" charset="0"/>
              </a:defRPr>
            </a:lvl1pPr>
          </a:lstStyle>
          <a:p>
            <a:pPr lvl="0"/>
            <a:r>
              <a:rPr lang="es-ES"/>
              <a:t>TITLE ALWAYS IN CAPITAL LETTERS</a:t>
            </a:r>
          </a:p>
        </p:txBody>
      </p:sp>
      <p:sp>
        <p:nvSpPr>
          <p:cNvPr id="11" name="Marcador de texto 16">
            <a:extLst>
              <a:ext uri="{FF2B5EF4-FFF2-40B4-BE49-F238E27FC236}">
                <a16:creationId xmlns:a16="http://schemas.microsoft.com/office/drawing/2014/main" id="{7213C399-11D2-A211-97A8-23AE85C08659}"/>
              </a:ext>
            </a:extLst>
          </p:cNvPr>
          <p:cNvSpPr>
            <a:spLocks noGrp="1"/>
          </p:cNvSpPr>
          <p:nvPr>
            <p:ph type="body" sz="quarter" idx="16" hasCustomPrompt="1"/>
          </p:nvPr>
        </p:nvSpPr>
        <p:spPr>
          <a:xfrm>
            <a:off x="555308" y="1733407"/>
            <a:ext cx="4829492" cy="4316411"/>
          </a:xfrm>
          <a:prstGeom prst="rect">
            <a:avLst/>
          </a:prstGeom>
        </p:spPr>
        <p:txBody>
          <a:bodyPr/>
          <a:lstStyle>
            <a:lvl1pPr>
              <a:defRPr sz="1400" b="0" i="0">
                <a:latin typeface="Arial" panose="020B0604020202020204" pitchFamily="34" charset="0"/>
                <a:cs typeface="Arial" panose="020B060402020202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s-ES"/>
              <a:t>Haga clic para modificar</a:t>
            </a:r>
          </a:p>
          <a:p>
            <a:pPr lvl="0"/>
            <a:endParaRPr lang="es-ES"/>
          </a:p>
          <a:p>
            <a:pPr lvl="0"/>
            <a:endParaRPr lang="es-ES"/>
          </a:p>
          <a:p>
            <a:pPr lvl="0"/>
            <a:endParaRPr lang="es-ES"/>
          </a:p>
        </p:txBody>
      </p:sp>
    </p:spTree>
    <p:extLst>
      <p:ext uri="{BB962C8B-B14F-4D97-AF65-F5344CB8AC3E}">
        <p14:creationId xmlns:p14="http://schemas.microsoft.com/office/powerpoint/2010/main" val="39123919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77_Movement">
    <p:bg>
      <p:bgPr>
        <a:solidFill>
          <a:schemeClr val="bg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tx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tx1"/>
                </a:solidFill>
              </a:defRPr>
            </a:lvl1pPr>
          </a:lstStyle>
          <a:p>
            <a:fld id="{FF2CED2D-DE01-CB40-AEF5-C9DD7CD06225}" type="slidenum">
              <a:rPr lang="es-ES" smtClean="0"/>
              <a:pPr/>
              <a:t>‹Nº›</a:t>
            </a:fld>
            <a:endParaRPr lang="es-ES"/>
          </a:p>
        </p:txBody>
      </p:sp>
      <p:sp>
        <p:nvSpPr>
          <p:cNvPr id="3" name="Marcador de texto 16">
            <a:extLst>
              <a:ext uri="{FF2B5EF4-FFF2-40B4-BE49-F238E27FC236}">
                <a16:creationId xmlns:a16="http://schemas.microsoft.com/office/drawing/2014/main" id="{419EBCED-DD09-F1A2-2386-E3C417AB4652}"/>
              </a:ext>
            </a:extLst>
          </p:cNvPr>
          <p:cNvSpPr>
            <a:spLocks noGrp="1"/>
          </p:cNvSpPr>
          <p:nvPr>
            <p:ph type="body" sz="quarter" idx="17" hasCustomPrompt="1"/>
          </p:nvPr>
        </p:nvSpPr>
        <p:spPr>
          <a:xfrm>
            <a:off x="873654" y="5004134"/>
            <a:ext cx="2987144" cy="959334"/>
          </a:xfrm>
          <a:prstGeom prst="rect">
            <a:avLst/>
          </a:prstGeom>
        </p:spPr>
        <p:txBody>
          <a:bodyPr/>
          <a:lstStyle>
            <a:lvl1pPr marL="0" indent="0">
              <a:buFont typeface="+mj-lt"/>
              <a:buNone/>
              <a:defRPr sz="1200" b="0" i="0">
                <a:solidFill>
                  <a:schemeClr val="tx1"/>
                </a:solidFill>
                <a:latin typeface="Arial" panose="020B0604020202020204" pitchFamily="34" charset="0"/>
                <a:cs typeface="Arial" panose="020B0604020202020204" pitchFamily="34" charset="0"/>
              </a:defRPr>
            </a:lvl1pPr>
          </a:lstStyle>
          <a:p>
            <a:pPr lvl="0"/>
            <a:r>
              <a:rPr lang="es-ES"/>
              <a:t>Lore </a:t>
            </a:r>
            <a:r>
              <a:rPr lang="es-ES" err="1"/>
              <a:t>ipsum</a:t>
            </a:r>
            <a:r>
              <a:rPr lang="es-ES"/>
              <a:t> dolo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endParaRPr lang="es-ES"/>
          </a:p>
          <a:p>
            <a:pPr lvl="0"/>
            <a:endParaRPr lang="es-ES"/>
          </a:p>
          <a:p>
            <a:pPr lvl="0"/>
            <a:endParaRPr lang="es-ES"/>
          </a:p>
          <a:p>
            <a:pPr lvl="0"/>
            <a:endParaRPr lang="es-ES"/>
          </a:p>
          <a:p>
            <a:pPr lvl="0"/>
            <a:endParaRPr lang="es-ES"/>
          </a:p>
        </p:txBody>
      </p:sp>
      <p:sp>
        <p:nvSpPr>
          <p:cNvPr id="2" name="Marcador de texto 2">
            <a:extLst>
              <a:ext uri="{FF2B5EF4-FFF2-40B4-BE49-F238E27FC236}">
                <a16:creationId xmlns:a16="http://schemas.microsoft.com/office/drawing/2014/main" id="{57F0914C-158E-E613-C727-265270F08120}"/>
              </a:ext>
            </a:extLst>
          </p:cNvPr>
          <p:cNvSpPr>
            <a:spLocks noGrp="1"/>
          </p:cNvSpPr>
          <p:nvPr>
            <p:ph type="body" sz="quarter" idx="20" hasCustomPrompt="1"/>
          </p:nvPr>
        </p:nvSpPr>
        <p:spPr>
          <a:xfrm>
            <a:off x="873654" y="3976733"/>
            <a:ext cx="2987144" cy="959335"/>
          </a:xfrm>
          <a:prstGeom prst="rect">
            <a:avLst/>
          </a:prstGeom>
        </p:spPr>
        <p:txBody>
          <a:bodyPr anchor="t"/>
          <a:lstStyle>
            <a:lvl1pPr marL="0" indent="0">
              <a:lnSpc>
                <a:spcPct val="100000"/>
              </a:lnSpc>
              <a:buNone/>
              <a:defRPr sz="2400" b="1" i="0">
                <a:solidFill>
                  <a:schemeClr val="tx1"/>
                </a:solidFill>
                <a:latin typeface="Arial Narrow" panose="020B0604020202020204" pitchFamily="34" charset="0"/>
                <a:cs typeface="Graphik Medium" pitchFamily="2" charset="77"/>
              </a:defRPr>
            </a:lvl1pPr>
          </a:lstStyle>
          <a:p>
            <a:pPr lvl="0"/>
            <a:r>
              <a:rPr lang="es-ES"/>
              <a:t>TITLE ALWAYS IN CAPITAL LETTERS</a:t>
            </a:r>
          </a:p>
        </p:txBody>
      </p:sp>
      <p:sp>
        <p:nvSpPr>
          <p:cNvPr id="5" name="Rectángulo 4">
            <a:extLst>
              <a:ext uri="{FF2B5EF4-FFF2-40B4-BE49-F238E27FC236}">
                <a16:creationId xmlns:a16="http://schemas.microsoft.com/office/drawing/2014/main" id="{4A027473-D02F-F4CB-6E94-2F18CE758EF1}"/>
              </a:ext>
            </a:extLst>
          </p:cNvPr>
          <p:cNvSpPr/>
          <p:nvPr userDrawn="1"/>
        </p:nvSpPr>
        <p:spPr>
          <a:xfrm>
            <a:off x="534989" y="347133"/>
            <a:ext cx="1116011" cy="5249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a:extLst>
              <a:ext uri="{FF2B5EF4-FFF2-40B4-BE49-F238E27FC236}">
                <a16:creationId xmlns:a16="http://schemas.microsoft.com/office/drawing/2014/main" id="{6060FABD-9378-7CAC-F4FD-E781BF5A3B89}"/>
              </a:ext>
            </a:extLst>
          </p:cNvPr>
          <p:cNvPicPr>
            <a:picLocks noChangeAspect="1"/>
          </p:cNvPicPr>
          <p:nvPr userDrawn="1"/>
        </p:nvPicPr>
        <p:blipFill>
          <a:blip r:embed="rId2"/>
          <a:srcRect l="16647" t="25404" r="38877" b="19120"/>
          <a:stretch/>
        </p:blipFill>
        <p:spPr>
          <a:xfrm>
            <a:off x="0" y="1"/>
            <a:ext cx="12192000" cy="3428999"/>
          </a:xfrm>
          <a:prstGeom prst="rect">
            <a:avLst/>
          </a:prstGeom>
        </p:spPr>
      </p:pic>
      <p:sp>
        <p:nvSpPr>
          <p:cNvPr id="10" name="Marcador de texto 16">
            <a:extLst>
              <a:ext uri="{FF2B5EF4-FFF2-40B4-BE49-F238E27FC236}">
                <a16:creationId xmlns:a16="http://schemas.microsoft.com/office/drawing/2014/main" id="{C47CF096-FAFD-BDAD-26B3-CA8B9BEAAAC8}"/>
              </a:ext>
            </a:extLst>
          </p:cNvPr>
          <p:cNvSpPr>
            <a:spLocks noGrp="1"/>
          </p:cNvSpPr>
          <p:nvPr>
            <p:ph type="body" sz="quarter" idx="21" hasCustomPrompt="1"/>
          </p:nvPr>
        </p:nvSpPr>
        <p:spPr>
          <a:xfrm>
            <a:off x="4565121" y="5004134"/>
            <a:ext cx="2987144" cy="959334"/>
          </a:xfrm>
          <a:prstGeom prst="rect">
            <a:avLst/>
          </a:prstGeom>
        </p:spPr>
        <p:txBody>
          <a:bodyPr/>
          <a:lstStyle>
            <a:lvl1pPr marL="0" indent="0">
              <a:buFont typeface="+mj-lt"/>
              <a:buNone/>
              <a:defRPr sz="1200" b="0" i="0">
                <a:solidFill>
                  <a:schemeClr val="tx1"/>
                </a:solidFill>
                <a:latin typeface="Arial" panose="020B0604020202020204" pitchFamily="34" charset="0"/>
                <a:cs typeface="Arial" panose="020B0604020202020204" pitchFamily="34" charset="0"/>
              </a:defRPr>
            </a:lvl1pPr>
          </a:lstStyle>
          <a:p>
            <a:pPr lvl="0"/>
            <a:r>
              <a:rPr lang="es-ES"/>
              <a:t>Lore </a:t>
            </a:r>
            <a:r>
              <a:rPr lang="es-ES" err="1"/>
              <a:t>ipsum</a:t>
            </a:r>
            <a:r>
              <a:rPr lang="es-ES"/>
              <a:t> dolo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endParaRPr lang="es-ES"/>
          </a:p>
          <a:p>
            <a:pPr lvl="0"/>
            <a:endParaRPr lang="es-ES"/>
          </a:p>
          <a:p>
            <a:pPr lvl="0"/>
            <a:endParaRPr lang="es-ES"/>
          </a:p>
          <a:p>
            <a:pPr lvl="0"/>
            <a:endParaRPr lang="es-ES"/>
          </a:p>
          <a:p>
            <a:pPr lvl="0"/>
            <a:endParaRPr lang="es-ES"/>
          </a:p>
        </p:txBody>
      </p:sp>
      <p:sp>
        <p:nvSpPr>
          <p:cNvPr id="11" name="Marcador de texto 2">
            <a:extLst>
              <a:ext uri="{FF2B5EF4-FFF2-40B4-BE49-F238E27FC236}">
                <a16:creationId xmlns:a16="http://schemas.microsoft.com/office/drawing/2014/main" id="{A84C77AF-7056-12E4-C51C-7CF9385FB880}"/>
              </a:ext>
            </a:extLst>
          </p:cNvPr>
          <p:cNvSpPr>
            <a:spLocks noGrp="1"/>
          </p:cNvSpPr>
          <p:nvPr>
            <p:ph type="body" sz="quarter" idx="22" hasCustomPrompt="1"/>
          </p:nvPr>
        </p:nvSpPr>
        <p:spPr>
          <a:xfrm>
            <a:off x="4565121" y="3976733"/>
            <a:ext cx="2987144" cy="959335"/>
          </a:xfrm>
          <a:prstGeom prst="rect">
            <a:avLst/>
          </a:prstGeom>
        </p:spPr>
        <p:txBody>
          <a:bodyPr anchor="t"/>
          <a:lstStyle>
            <a:lvl1pPr marL="0" indent="0">
              <a:lnSpc>
                <a:spcPct val="100000"/>
              </a:lnSpc>
              <a:buNone/>
              <a:defRPr sz="2400" b="1" i="0">
                <a:solidFill>
                  <a:schemeClr val="tx1"/>
                </a:solidFill>
                <a:latin typeface="Arial Narrow" panose="020B0604020202020204" pitchFamily="34" charset="0"/>
                <a:cs typeface="Graphik Medium" pitchFamily="2" charset="77"/>
              </a:defRPr>
            </a:lvl1pPr>
          </a:lstStyle>
          <a:p>
            <a:pPr lvl="0"/>
            <a:r>
              <a:rPr lang="es-ES"/>
              <a:t>TITLE ALWAYS IN CAPITAL LETTERS</a:t>
            </a:r>
          </a:p>
        </p:txBody>
      </p:sp>
      <p:sp>
        <p:nvSpPr>
          <p:cNvPr id="12" name="Marcador de texto 16">
            <a:extLst>
              <a:ext uri="{FF2B5EF4-FFF2-40B4-BE49-F238E27FC236}">
                <a16:creationId xmlns:a16="http://schemas.microsoft.com/office/drawing/2014/main" id="{322981DB-491E-633D-14A4-3E92C6FA835E}"/>
              </a:ext>
            </a:extLst>
          </p:cNvPr>
          <p:cNvSpPr>
            <a:spLocks noGrp="1"/>
          </p:cNvSpPr>
          <p:nvPr>
            <p:ph type="body" sz="quarter" idx="23" hasCustomPrompt="1"/>
          </p:nvPr>
        </p:nvSpPr>
        <p:spPr>
          <a:xfrm>
            <a:off x="8256588" y="5004134"/>
            <a:ext cx="2987144" cy="959334"/>
          </a:xfrm>
          <a:prstGeom prst="rect">
            <a:avLst/>
          </a:prstGeom>
        </p:spPr>
        <p:txBody>
          <a:bodyPr/>
          <a:lstStyle>
            <a:lvl1pPr marL="0" indent="0">
              <a:buFont typeface="+mj-lt"/>
              <a:buNone/>
              <a:defRPr sz="1200" b="0" i="0">
                <a:solidFill>
                  <a:schemeClr val="tx1"/>
                </a:solidFill>
                <a:latin typeface="Arial" panose="020B0604020202020204" pitchFamily="34" charset="0"/>
                <a:cs typeface="Arial" panose="020B0604020202020204" pitchFamily="34" charset="0"/>
              </a:defRPr>
            </a:lvl1pPr>
          </a:lstStyle>
          <a:p>
            <a:pPr lvl="0"/>
            <a:r>
              <a:rPr lang="es-ES"/>
              <a:t>Lore </a:t>
            </a:r>
            <a:r>
              <a:rPr lang="es-ES" err="1"/>
              <a:t>ipsum</a:t>
            </a:r>
            <a:r>
              <a:rPr lang="es-ES"/>
              <a:t> dolor</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endParaRPr lang="es-ES"/>
          </a:p>
          <a:p>
            <a:pPr lvl="0"/>
            <a:endParaRPr lang="es-ES"/>
          </a:p>
          <a:p>
            <a:pPr lvl="0"/>
            <a:endParaRPr lang="es-ES"/>
          </a:p>
          <a:p>
            <a:pPr lvl="0"/>
            <a:endParaRPr lang="es-ES"/>
          </a:p>
          <a:p>
            <a:pPr lvl="0"/>
            <a:endParaRPr lang="es-ES"/>
          </a:p>
        </p:txBody>
      </p:sp>
      <p:sp>
        <p:nvSpPr>
          <p:cNvPr id="13" name="Marcador de texto 2">
            <a:extLst>
              <a:ext uri="{FF2B5EF4-FFF2-40B4-BE49-F238E27FC236}">
                <a16:creationId xmlns:a16="http://schemas.microsoft.com/office/drawing/2014/main" id="{72F75297-8F6A-6950-35E5-73B661B0A663}"/>
              </a:ext>
            </a:extLst>
          </p:cNvPr>
          <p:cNvSpPr>
            <a:spLocks noGrp="1"/>
          </p:cNvSpPr>
          <p:nvPr>
            <p:ph type="body" sz="quarter" idx="24" hasCustomPrompt="1"/>
          </p:nvPr>
        </p:nvSpPr>
        <p:spPr>
          <a:xfrm>
            <a:off x="8256588" y="3976733"/>
            <a:ext cx="2987144" cy="959335"/>
          </a:xfrm>
          <a:prstGeom prst="rect">
            <a:avLst/>
          </a:prstGeom>
        </p:spPr>
        <p:txBody>
          <a:bodyPr anchor="t"/>
          <a:lstStyle>
            <a:lvl1pPr marL="0" indent="0">
              <a:lnSpc>
                <a:spcPct val="100000"/>
              </a:lnSpc>
              <a:buNone/>
              <a:defRPr sz="2400" b="1" i="0">
                <a:solidFill>
                  <a:schemeClr val="tx1"/>
                </a:solidFill>
                <a:latin typeface="Arial Narrow" panose="020B0604020202020204" pitchFamily="34" charset="0"/>
                <a:cs typeface="Graphik Medium" pitchFamily="2" charset="77"/>
              </a:defRPr>
            </a:lvl1pPr>
          </a:lstStyle>
          <a:p>
            <a:pPr lvl="0"/>
            <a:r>
              <a:rPr lang="es-ES"/>
              <a:t>TITLE ALWAYS IN CAPITAL LETTERS</a:t>
            </a:r>
          </a:p>
        </p:txBody>
      </p:sp>
      <p:sp>
        <p:nvSpPr>
          <p:cNvPr id="15" name="Marcador de posición de imagen 14">
            <a:extLst>
              <a:ext uri="{FF2B5EF4-FFF2-40B4-BE49-F238E27FC236}">
                <a16:creationId xmlns:a16="http://schemas.microsoft.com/office/drawing/2014/main" id="{DF11CA26-A806-7860-EE98-9C2B5C703924}"/>
              </a:ext>
            </a:extLst>
          </p:cNvPr>
          <p:cNvSpPr>
            <a:spLocks noGrp="1"/>
          </p:cNvSpPr>
          <p:nvPr>
            <p:ph type="pic" sz="quarter" idx="25" hasCustomPrompt="1"/>
          </p:nvPr>
        </p:nvSpPr>
        <p:spPr>
          <a:xfrm>
            <a:off x="643994" y="660400"/>
            <a:ext cx="3446463" cy="202406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6" name="Marcador de posición de imagen 14">
            <a:extLst>
              <a:ext uri="{FF2B5EF4-FFF2-40B4-BE49-F238E27FC236}">
                <a16:creationId xmlns:a16="http://schemas.microsoft.com/office/drawing/2014/main" id="{6590DE54-23A3-E98A-1C8F-AF9B8CCD669C}"/>
              </a:ext>
            </a:extLst>
          </p:cNvPr>
          <p:cNvSpPr>
            <a:spLocks noGrp="1"/>
          </p:cNvSpPr>
          <p:nvPr>
            <p:ph type="pic" sz="quarter" idx="26" hasCustomPrompt="1"/>
          </p:nvPr>
        </p:nvSpPr>
        <p:spPr>
          <a:xfrm>
            <a:off x="4335461" y="660400"/>
            <a:ext cx="3446463" cy="202406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
        <p:nvSpPr>
          <p:cNvPr id="17" name="Marcador de posición de imagen 14">
            <a:extLst>
              <a:ext uri="{FF2B5EF4-FFF2-40B4-BE49-F238E27FC236}">
                <a16:creationId xmlns:a16="http://schemas.microsoft.com/office/drawing/2014/main" id="{278E84F6-2A81-1B91-7B87-31A7B6CA3775}"/>
              </a:ext>
            </a:extLst>
          </p:cNvPr>
          <p:cNvSpPr>
            <a:spLocks noGrp="1"/>
          </p:cNvSpPr>
          <p:nvPr>
            <p:ph type="pic" sz="quarter" idx="27" hasCustomPrompt="1"/>
          </p:nvPr>
        </p:nvSpPr>
        <p:spPr>
          <a:xfrm>
            <a:off x="8028085" y="660400"/>
            <a:ext cx="3446463" cy="2024063"/>
          </a:xfrm>
          <a:prstGeom prst="rect">
            <a:avLst/>
          </a:prstGeom>
        </p:spPr>
        <p:txBody>
          <a:bodyPr/>
          <a:lstStyle>
            <a:lvl1pPr marL="0" indent="0">
              <a:buNone/>
              <a:defRPr b="0" i="0">
                <a:latin typeface="Arial" panose="020B0604020202020204" pitchFamily="34" charset="0"/>
                <a:cs typeface="Arial" panose="020B0604020202020204" pitchFamily="34" charset="0"/>
              </a:defRPr>
            </a:lvl1pPr>
          </a:lstStyle>
          <a:p>
            <a:r>
              <a:rPr lang="es-ES"/>
              <a:t>Imagen</a:t>
            </a:r>
          </a:p>
        </p:txBody>
      </p:sp>
    </p:spTree>
    <p:extLst>
      <p:ext uri="{BB962C8B-B14F-4D97-AF65-F5344CB8AC3E}">
        <p14:creationId xmlns:p14="http://schemas.microsoft.com/office/powerpoint/2010/main" val="4224732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Backcover blue 1">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98A6A820-9578-2A70-F108-49ED09A378D6}"/>
              </a:ext>
            </a:extLst>
          </p:cNvPr>
          <p:cNvPicPr/>
          <p:nvPr userDrawn="1"/>
        </p:nvPicPr>
        <p:blipFill>
          <a:blip r:embed="rId2"/>
          <a:stretch>
            <a:fillRect/>
          </a:stretch>
        </p:blipFill>
        <p:spPr>
          <a:xfrm>
            <a:off x="4416350" y="2687336"/>
            <a:ext cx="3359300" cy="1483327"/>
          </a:xfrm>
          <a:prstGeom prst="rect">
            <a:avLst/>
          </a:prstGeom>
        </p:spPr>
      </p:pic>
    </p:spTree>
    <p:extLst>
      <p:ext uri="{BB962C8B-B14F-4D97-AF65-F5344CB8AC3E}">
        <p14:creationId xmlns:p14="http://schemas.microsoft.com/office/powerpoint/2010/main" val="14856420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3_Imagen con título">
    <p:bg>
      <p:bgPr>
        <a:solidFill>
          <a:schemeClr val="tx1"/>
        </a:solidFill>
        <a:effectLst/>
      </p:bgPr>
    </p:bg>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p:txBody>
          <a:bodyPr/>
          <a:lstStyle>
            <a:lvl1pPr>
              <a:defRPr>
                <a:solidFill>
                  <a:schemeClr val="bg1"/>
                </a:solidFill>
              </a:defRPr>
            </a:lvl1pPr>
          </a:lstStyle>
          <a:p>
            <a:r>
              <a:rPr lang="es-ES"/>
              <a:t>Proprietary Information - Confidential</a:t>
            </a:r>
          </a:p>
        </p:txBody>
      </p:sp>
      <p:sp>
        <p:nvSpPr>
          <p:cNvPr id="7"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p:txBody>
          <a:bodyPr/>
          <a:lstStyle>
            <a:lvl1pPr>
              <a:defRPr>
                <a:solidFill>
                  <a:schemeClr val="bg1"/>
                </a:solidFill>
              </a:defRPr>
            </a:lvl1pPr>
          </a:lstStyle>
          <a:p>
            <a:fld id="{FF2CED2D-DE01-CB40-AEF5-C9DD7CD06225}" type="slidenum">
              <a:rPr lang="es-ES" smtClean="0"/>
              <a:pPr/>
              <a:t>‹Nº›</a:t>
            </a:fld>
            <a:endParaRPr lang="es-ES"/>
          </a:p>
        </p:txBody>
      </p:sp>
      <p:sp>
        <p:nvSpPr>
          <p:cNvPr id="3" name="Rectángulo 2">
            <a:extLst>
              <a:ext uri="{FF2B5EF4-FFF2-40B4-BE49-F238E27FC236}">
                <a16:creationId xmlns:a16="http://schemas.microsoft.com/office/drawing/2014/main" id="{3FBB2D51-039E-B4F8-FE28-990ABFD2770C}"/>
              </a:ext>
            </a:extLst>
          </p:cNvPr>
          <p:cNvSpPr/>
          <p:nvPr userDrawn="1"/>
        </p:nvSpPr>
        <p:spPr>
          <a:xfrm>
            <a:off x="534989" y="380683"/>
            <a:ext cx="1239567" cy="53371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 name="Imagen 1">
            <a:extLst>
              <a:ext uri="{FF2B5EF4-FFF2-40B4-BE49-F238E27FC236}">
                <a16:creationId xmlns:a16="http://schemas.microsoft.com/office/drawing/2014/main" id="{92889267-31E8-6239-B99E-7FABA3306226}"/>
              </a:ext>
            </a:extLst>
          </p:cNvPr>
          <p:cNvPicPr/>
          <p:nvPr userDrawn="1"/>
        </p:nvPicPr>
        <p:blipFill>
          <a:blip r:embed="rId2"/>
          <a:stretch>
            <a:fillRect/>
          </a:stretch>
        </p:blipFill>
        <p:spPr>
          <a:xfrm>
            <a:off x="653742" y="6320455"/>
            <a:ext cx="663716" cy="293070"/>
          </a:xfrm>
          <a:prstGeom prst="rect">
            <a:avLst/>
          </a:prstGeom>
        </p:spPr>
      </p:pic>
      <p:sp>
        <p:nvSpPr>
          <p:cNvPr id="4" name="Marcador de texto 11">
            <a:extLst>
              <a:ext uri="{FF2B5EF4-FFF2-40B4-BE49-F238E27FC236}">
                <a16:creationId xmlns:a16="http://schemas.microsoft.com/office/drawing/2014/main" id="{09D9A8F8-1DFB-03EF-CD2C-582B67040597}"/>
              </a:ext>
            </a:extLst>
          </p:cNvPr>
          <p:cNvSpPr>
            <a:spLocks noGrp="1"/>
          </p:cNvSpPr>
          <p:nvPr>
            <p:ph type="body" sz="quarter" idx="13" hasCustomPrompt="1"/>
          </p:nvPr>
        </p:nvSpPr>
        <p:spPr>
          <a:xfrm>
            <a:off x="613317" y="647541"/>
            <a:ext cx="10620375" cy="4491823"/>
          </a:xfrm>
          <a:prstGeom prst="rect">
            <a:avLst/>
          </a:prstGeom>
        </p:spPr>
        <p:txBody>
          <a:bodyPr anchor="t"/>
          <a:lstStyle>
            <a:lvl1pPr marL="0" indent="0">
              <a:buNone/>
              <a:defRPr sz="4800" b="0" i="0">
                <a:solidFill>
                  <a:schemeClr val="bg1"/>
                </a:solidFill>
                <a:latin typeface="Arial" panose="020B0604020202020204" pitchFamily="34" charset="0"/>
                <a:cs typeface="Arial" panose="020B0604020202020204" pitchFamily="34" charset="0"/>
              </a:defRPr>
            </a:lvl1pPr>
          </a:lstStyle>
          <a:p>
            <a:r>
              <a:rPr lang="es-ES" sz="4800">
                <a:solidFill>
                  <a:schemeClr val="bg1"/>
                </a:solidFill>
                <a:latin typeface="Graphik" pitchFamily="2" charset="77"/>
                <a:cs typeface="Graphik" pitchFamily="2" charset="77"/>
              </a:rPr>
              <a:t>"</a:t>
            </a:r>
            <a:r>
              <a:rPr lang="es-ES" sz="4800" err="1">
                <a:solidFill>
                  <a:schemeClr val="bg1"/>
                </a:solidFill>
                <a:latin typeface="Graphik" pitchFamily="2" charset="77"/>
                <a:cs typeface="Graphik" pitchFamily="2" charset="77"/>
              </a:rPr>
              <a:t>Work</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on</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most</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mpactful</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eam</a:t>
            </a:r>
            <a:r>
              <a:rPr lang="es-ES" sz="4800">
                <a:solidFill>
                  <a:schemeClr val="bg1"/>
                </a:solidFill>
                <a:latin typeface="Graphik" pitchFamily="2" charset="77"/>
                <a:cs typeface="Graphik" pitchFamily="2" charset="77"/>
              </a:rPr>
              <a:t> in </a:t>
            </a:r>
            <a:r>
              <a:rPr lang="es-ES" sz="4800" err="1">
                <a:solidFill>
                  <a:schemeClr val="bg1"/>
                </a:solidFill>
                <a:latin typeface="Graphik" pitchFamily="2" charset="77"/>
                <a:cs typeface="Graphik" pitchFamily="2" charset="77"/>
              </a:rPr>
              <a:t>th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industry</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best</a:t>
            </a:r>
            <a:r>
              <a:rPr lang="es-ES" sz="4800">
                <a:solidFill>
                  <a:schemeClr val="bg1"/>
                </a:solidFill>
                <a:latin typeface="Graphik" pitchFamily="2" charset="77"/>
                <a:cs typeface="Graphik" pitchFamily="2" charset="77"/>
              </a:rPr>
              <a:t> place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accelerate</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you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areer</a:t>
            </a:r>
            <a:r>
              <a:rPr lang="es-ES" sz="4800">
                <a:solidFill>
                  <a:schemeClr val="bg1"/>
                </a:solidFill>
                <a:latin typeface="Graphik" pitchFamily="2" charset="77"/>
                <a:cs typeface="Graphik" pitchFamily="2" charset="77"/>
              </a:rPr>
              <a:t>.</a:t>
            </a:r>
            <a:br>
              <a:rPr lang="es-ES" sz="4800">
                <a:solidFill>
                  <a:schemeClr val="bg1"/>
                </a:solidFill>
                <a:latin typeface="Graphik" pitchFamily="2" charset="77"/>
                <a:cs typeface="Graphik" pitchFamily="2" charset="77"/>
              </a:rPr>
            </a:br>
            <a:r>
              <a:rPr lang="es-ES" sz="4800" err="1">
                <a:solidFill>
                  <a:schemeClr val="bg1"/>
                </a:solidFill>
                <a:latin typeface="Graphik" pitchFamily="2" charset="77"/>
                <a:cs typeface="Graphik" pitchFamily="2" charset="77"/>
              </a:rPr>
              <a:t>Better</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engineering</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to</a:t>
            </a:r>
            <a:r>
              <a:rPr lang="es-ES" sz="4800">
                <a:solidFill>
                  <a:schemeClr val="bg1"/>
                </a:solidFill>
                <a:latin typeface="Graphik" pitchFamily="2" charset="77"/>
                <a:cs typeface="Graphik" pitchFamily="2" charset="77"/>
              </a:rPr>
              <a:t> </a:t>
            </a:r>
            <a:r>
              <a:rPr lang="es-ES" sz="4800" err="1">
                <a:solidFill>
                  <a:schemeClr val="bg1"/>
                </a:solidFill>
                <a:latin typeface="Graphik" pitchFamily="2" charset="77"/>
                <a:cs typeface="Graphik" pitchFamily="2" charset="77"/>
              </a:rPr>
              <a:t>create</a:t>
            </a:r>
            <a:r>
              <a:rPr lang="es-ES" sz="4800">
                <a:solidFill>
                  <a:schemeClr val="bg1"/>
                </a:solidFill>
                <a:latin typeface="Graphik" pitchFamily="2" charset="77"/>
                <a:cs typeface="Graphik" pitchFamily="2" charset="77"/>
              </a:rPr>
              <a:t> innovative </a:t>
            </a:r>
            <a:r>
              <a:rPr lang="es-ES" sz="4800" err="1">
                <a:solidFill>
                  <a:schemeClr val="bg1"/>
                </a:solidFill>
                <a:latin typeface="Graphik" pitchFamily="2" charset="77"/>
                <a:cs typeface="Graphik" pitchFamily="2" charset="77"/>
              </a:rPr>
              <a:t>products</a:t>
            </a:r>
            <a:r>
              <a:rPr lang="es-ES" sz="4800">
                <a:solidFill>
                  <a:schemeClr val="bg1"/>
                </a:solidFill>
                <a:latin typeface="Graphik" pitchFamily="2" charset="77"/>
                <a:cs typeface="Graphik" pitchFamily="2" charset="77"/>
              </a:rPr>
              <a:t> and </a:t>
            </a:r>
            <a:r>
              <a:rPr lang="es-ES" sz="4800" err="1">
                <a:solidFill>
                  <a:schemeClr val="bg1"/>
                </a:solidFill>
                <a:latin typeface="Graphik" pitchFamily="2" charset="77"/>
                <a:cs typeface="Graphik" pitchFamily="2" charset="77"/>
              </a:rPr>
              <a:t>solutions</a:t>
            </a:r>
            <a:r>
              <a:rPr lang="es-ES" sz="4800">
                <a:solidFill>
                  <a:schemeClr val="bg1"/>
                </a:solidFill>
                <a:latin typeface="Graphik" pitchFamily="2" charset="77"/>
                <a:cs typeface="Graphik" pitchFamily="2" charset="77"/>
              </a:rPr>
              <a:t>."</a:t>
            </a:r>
          </a:p>
        </p:txBody>
      </p:sp>
    </p:spTree>
    <p:extLst>
      <p:ext uri="{BB962C8B-B14F-4D97-AF65-F5344CB8AC3E}">
        <p14:creationId xmlns:p14="http://schemas.microsoft.com/office/powerpoint/2010/main" val="1041700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ackover white 1">
    <p:bg>
      <p:bgPr>
        <a:solidFill>
          <a:schemeClr val="bg1"/>
        </a:solidFill>
        <a:effectLst/>
      </p:bgPr>
    </p:bg>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98A6A820-9578-2A70-F108-49ED09A378D6}"/>
              </a:ext>
            </a:extLst>
          </p:cNvPr>
          <p:cNvPicPr/>
          <p:nvPr userDrawn="1"/>
        </p:nvPicPr>
        <p:blipFill>
          <a:blip r:embed="rId2"/>
          <a:stretch>
            <a:fillRect/>
          </a:stretch>
        </p:blipFill>
        <p:spPr>
          <a:xfrm>
            <a:off x="4416350" y="2687336"/>
            <a:ext cx="3359300" cy="1483327"/>
          </a:xfrm>
          <a:prstGeom prst="rect">
            <a:avLst/>
          </a:prstGeom>
        </p:spPr>
      </p:pic>
      <p:pic>
        <p:nvPicPr>
          <p:cNvPr id="2" name="Imagen 1" descr="Logotipo&#10;&#10;Descripción generada automáticamente">
            <a:extLst>
              <a:ext uri="{FF2B5EF4-FFF2-40B4-BE49-F238E27FC236}">
                <a16:creationId xmlns:a16="http://schemas.microsoft.com/office/drawing/2014/main" id="{6B46F314-30DD-929D-8806-7DBCD1FF1206}"/>
              </a:ext>
            </a:extLst>
          </p:cNvPr>
          <p:cNvPicPr>
            <a:picLocks noChangeAspect="1"/>
          </p:cNvPicPr>
          <p:nvPr userDrawn="1"/>
        </p:nvPicPr>
        <p:blipFill>
          <a:blip r:embed="rId3"/>
          <a:stretch>
            <a:fillRect/>
          </a:stretch>
        </p:blipFill>
        <p:spPr>
          <a:xfrm>
            <a:off x="3690250" y="1963065"/>
            <a:ext cx="4848443" cy="2931869"/>
          </a:xfrm>
          <a:prstGeom prst="rect">
            <a:avLst/>
          </a:prstGeom>
        </p:spPr>
      </p:pic>
    </p:spTree>
    <p:extLst>
      <p:ext uri="{BB962C8B-B14F-4D97-AF65-F5344CB8AC3E}">
        <p14:creationId xmlns:p14="http://schemas.microsoft.com/office/powerpoint/2010/main" val="3977876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Agenda mosaic">
    <p:spTree>
      <p:nvGrpSpPr>
        <p:cNvPr id="1" name=""/>
        <p:cNvGrpSpPr/>
        <p:nvPr/>
      </p:nvGrpSpPr>
      <p:grpSpPr>
        <a:xfrm>
          <a:off x="0" y="0"/>
          <a:ext cx="0" cy="0"/>
          <a:chOff x="0" y="0"/>
          <a:chExt cx="0" cy="0"/>
        </a:xfrm>
      </p:grpSpPr>
      <p:sp>
        <p:nvSpPr>
          <p:cNvPr id="38" name="Marcador de texto 37">
            <a:extLst>
              <a:ext uri="{FF2B5EF4-FFF2-40B4-BE49-F238E27FC236}">
                <a16:creationId xmlns:a16="http://schemas.microsoft.com/office/drawing/2014/main" id="{BD8DED17-2F90-D6D2-137F-667B527491DC}"/>
              </a:ext>
            </a:extLst>
          </p:cNvPr>
          <p:cNvSpPr>
            <a:spLocks noGrp="1"/>
          </p:cNvSpPr>
          <p:nvPr>
            <p:ph type="body" sz="quarter" idx="13" hasCustomPrompt="1"/>
          </p:nvPr>
        </p:nvSpPr>
        <p:spPr>
          <a:xfrm>
            <a:off x="2871788" y="1485900"/>
            <a:ext cx="776249"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1</a:t>
            </a:r>
          </a:p>
        </p:txBody>
      </p:sp>
      <p:sp>
        <p:nvSpPr>
          <p:cNvPr id="42" name="Marcador de texto 37">
            <a:extLst>
              <a:ext uri="{FF2B5EF4-FFF2-40B4-BE49-F238E27FC236}">
                <a16:creationId xmlns:a16="http://schemas.microsoft.com/office/drawing/2014/main" id="{AFCE4002-C8DE-4102-7888-368EE827430E}"/>
              </a:ext>
            </a:extLst>
          </p:cNvPr>
          <p:cNvSpPr>
            <a:spLocks noGrp="1"/>
          </p:cNvSpPr>
          <p:nvPr>
            <p:ph type="body" sz="quarter" idx="14" hasCustomPrompt="1"/>
          </p:nvPr>
        </p:nvSpPr>
        <p:spPr>
          <a:xfrm>
            <a:off x="5733830" y="1485900"/>
            <a:ext cx="768683"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2</a:t>
            </a:r>
          </a:p>
        </p:txBody>
      </p:sp>
      <p:sp>
        <p:nvSpPr>
          <p:cNvPr id="43" name="Marcador de texto 37">
            <a:extLst>
              <a:ext uri="{FF2B5EF4-FFF2-40B4-BE49-F238E27FC236}">
                <a16:creationId xmlns:a16="http://schemas.microsoft.com/office/drawing/2014/main" id="{F93694D9-903F-FDD0-91C7-9517DCE367A7}"/>
              </a:ext>
            </a:extLst>
          </p:cNvPr>
          <p:cNvSpPr>
            <a:spLocks noGrp="1"/>
          </p:cNvSpPr>
          <p:nvPr>
            <p:ph type="body" sz="quarter" idx="15" hasCustomPrompt="1"/>
          </p:nvPr>
        </p:nvSpPr>
        <p:spPr>
          <a:xfrm>
            <a:off x="8561555" y="1485900"/>
            <a:ext cx="733962"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3</a:t>
            </a:r>
          </a:p>
        </p:txBody>
      </p:sp>
      <p:sp>
        <p:nvSpPr>
          <p:cNvPr id="47" name="Marcador de texto 37">
            <a:extLst>
              <a:ext uri="{FF2B5EF4-FFF2-40B4-BE49-F238E27FC236}">
                <a16:creationId xmlns:a16="http://schemas.microsoft.com/office/drawing/2014/main" id="{2364A2C0-B69A-5874-0B35-8AC0BB5902B0}"/>
              </a:ext>
            </a:extLst>
          </p:cNvPr>
          <p:cNvSpPr>
            <a:spLocks noGrp="1"/>
          </p:cNvSpPr>
          <p:nvPr>
            <p:ph type="body" sz="quarter" idx="19" hasCustomPrompt="1"/>
          </p:nvPr>
        </p:nvSpPr>
        <p:spPr>
          <a:xfrm>
            <a:off x="2871788" y="2000730"/>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51" name="Marcador de texto 37">
            <a:extLst>
              <a:ext uri="{FF2B5EF4-FFF2-40B4-BE49-F238E27FC236}">
                <a16:creationId xmlns:a16="http://schemas.microsoft.com/office/drawing/2014/main" id="{802F8A31-99D0-0871-F95B-45F05AFC2E50}"/>
              </a:ext>
            </a:extLst>
          </p:cNvPr>
          <p:cNvSpPr>
            <a:spLocks noGrp="1"/>
          </p:cNvSpPr>
          <p:nvPr>
            <p:ph type="body" sz="quarter" idx="22" hasCustomPrompt="1"/>
          </p:nvPr>
        </p:nvSpPr>
        <p:spPr>
          <a:xfrm>
            <a:off x="2871788" y="2584716"/>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25" name="Marcador de pie de página 5">
            <a:extLst>
              <a:ext uri="{FF2B5EF4-FFF2-40B4-BE49-F238E27FC236}">
                <a16:creationId xmlns:a16="http://schemas.microsoft.com/office/drawing/2014/main" id="{1990C880-2160-4605-ED69-B8794E881968}"/>
              </a:ext>
            </a:extLst>
          </p:cNvPr>
          <p:cNvSpPr>
            <a:spLocks noGrp="1"/>
          </p:cNvSpPr>
          <p:nvPr>
            <p:ph type="ftr" sz="quarter" idx="11"/>
          </p:nvPr>
        </p:nvSpPr>
        <p:spPr>
          <a:xfrm>
            <a:off x="8605477" y="6356350"/>
            <a:ext cx="2205958" cy="365125"/>
          </a:xfrm>
        </p:spPr>
        <p:txBody>
          <a:bodyPr/>
          <a:lstStyle/>
          <a:p>
            <a:r>
              <a:rPr lang="es-ES" err="1"/>
              <a:t>Proprietary</a:t>
            </a:r>
            <a:r>
              <a:rPr lang="es-ES"/>
              <a:t> </a:t>
            </a:r>
            <a:r>
              <a:rPr lang="es-ES" err="1"/>
              <a:t>Information</a:t>
            </a:r>
            <a:r>
              <a:rPr lang="es-ES"/>
              <a:t> - </a:t>
            </a:r>
            <a:r>
              <a:rPr lang="es-ES" err="1"/>
              <a:t>Confidential</a:t>
            </a:r>
            <a:endParaRPr lang="es-ES"/>
          </a:p>
        </p:txBody>
      </p:sp>
      <p:sp>
        <p:nvSpPr>
          <p:cNvPr id="26" name="Marcador de número de diapositiva 6">
            <a:extLst>
              <a:ext uri="{FF2B5EF4-FFF2-40B4-BE49-F238E27FC236}">
                <a16:creationId xmlns:a16="http://schemas.microsoft.com/office/drawing/2014/main" id="{78E29B71-E7E1-3C84-C23D-2FDF7FD67D5E}"/>
              </a:ext>
            </a:extLst>
          </p:cNvPr>
          <p:cNvSpPr>
            <a:spLocks noGrp="1"/>
          </p:cNvSpPr>
          <p:nvPr>
            <p:ph type="sldNum" sz="quarter" idx="12"/>
          </p:nvPr>
        </p:nvSpPr>
        <p:spPr>
          <a:xfrm>
            <a:off x="10834487" y="6356350"/>
            <a:ext cx="980356" cy="365125"/>
          </a:xfrm>
        </p:spPr>
        <p:txBody>
          <a:bodyPr/>
          <a:lstStyle/>
          <a:p>
            <a:fld id="{FF2CED2D-DE01-CB40-AEF5-C9DD7CD06225}" type="slidenum">
              <a:rPr lang="es-ES" smtClean="0"/>
              <a:t>‹Nº›</a:t>
            </a:fld>
            <a:endParaRPr lang="es-ES"/>
          </a:p>
        </p:txBody>
      </p:sp>
      <p:sp>
        <p:nvSpPr>
          <p:cNvPr id="24" name="Marcador de texto 37">
            <a:extLst>
              <a:ext uri="{FF2B5EF4-FFF2-40B4-BE49-F238E27FC236}">
                <a16:creationId xmlns:a16="http://schemas.microsoft.com/office/drawing/2014/main" id="{2364A2C0-B69A-5874-0B35-8AC0BB5902B0}"/>
              </a:ext>
            </a:extLst>
          </p:cNvPr>
          <p:cNvSpPr>
            <a:spLocks noGrp="1"/>
          </p:cNvSpPr>
          <p:nvPr>
            <p:ph type="body" sz="quarter" idx="31" hasCustomPrompt="1"/>
          </p:nvPr>
        </p:nvSpPr>
        <p:spPr>
          <a:xfrm>
            <a:off x="5735824" y="2007165"/>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27" name="Marcador de texto 37">
            <a:extLst>
              <a:ext uri="{FF2B5EF4-FFF2-40B4-BE49-F238E27FC236}">
                <a16:creationId xmlns:a16="http://schemas.microsoft.com/office/drawing/2014/main" id="{2364A2C0-B69A-5874-0B35-8AC0BB5902B0}"/>
              </a:ext>
            </a:extLst>
          </p:cNvPr>
          <p:cNvSpPr>
            <a:spLocks noGrp="1"/>
          </p:cNvSpPr>
          <p:nvPr>
            <p:ph type="body" sz="quarter" idx="32" hasCustomPrompt="1"/>
          </p:nvPr>
        </p:nvSpPr>
        <p:spPr>
          <a:xfrm>
            <a:off x="8561441" y="2007165"/>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28" name="Marcador de texto 37">
            <a:extLst>
              <a:ext uri="{FF2B5EF4-FFF2-40B4-BE49-F238E27FC236}">
                <a16:creationId xmlns:a16="http://schemas.microsoft.com/office/drawing/2014/main" id="{2364A2C0-B69A-5874-0B35-8AC0BB5902B0}"/>
              </a:ext>
            </a:extLst>
          </p:cNvPr>
          <p:cNvSpPr>
            <a:spLocks noGrp="1"/>
          </p:cNvSpPr>
          <p:nvPr>
            <p:ph type="body" sz="quarter" idx="33" hasCustomPrompt="1"/>
          </p:nvPr>
        </p:nvSpPr>
        <p:spPr>
          <a:xfrm>
            <a:off x="2871788" y="4296228"/>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29" name="Marcador de texto 37">
            <a:extLst>
              <a:ext uri="{FF2B5EF4-FFF2-40B4-BE49-F238E27FC236}">
                <a16:creationId xmlns:a16="http://schemas.microsoft.com/office/drawing/2014/main" id="{2364A2C0-B69A-5874-0B35-8AC0BB5902B0}"/>
              </a:ext>
            </a:extLst>
          </p:cNvPr>
          <p:cNvSpPr>
            <a:spLocks noGrp="1"/>
          </p:cNvSpPr>
          <p:nvPr>
            <p:ph type="body" sz="quarter" idx="34" hasCustomPrompt="1"/>
          </p:nvPr>
        </p:nvSpPr>
        <p:spPr>
          <a:xfrm>
            <a:off x="5735824" y="4303713"/>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30" name="Marcador de texto 37">
            <a:extLst>
              <a:ext uri="{FF2B5EF4-FFF2-40B4-BE49-F238E27FC236}">
                <a16:creationId xmlns:a16="http://schemas.microsoft.com/office/drawing/2014/main" id="{2364A2C0-B69A-5874-0B35-8AC0BB5902B0}"/>
              </a:ext>
            </a:extLst>
          </p:cNvPr>
          <p:cNvSpPr>
            <a:spLocks noGrp="1"/>
          </p:cNvSpPr>
          <p:nvPr>
            <p:ph type="body" sz="quarter" idx="35" hasCustomPrompt="1"/>
          </p:nvPr>
        </p:nvSpPr>
        <p:spPr>
          <a:xfrm>
            <a:off x="8561441" y="4296228"/>
            <a:ext cx="2530088" cy="501650"/>
          </a:xfrm>
          <a:prstGeom prst="rect">
            <a:avLst/>
          </a:prstGeom>
        </p:spPr>
        <p:txBody>
          <a:bodyPr/>
          <a:lstStyle>
            <a:lvl1pPr marL="0" indent="0">
              <a:buNone/>
              <a:defRPr sz="2800" b="1" i="0">
                <a:solidFill>
                  <a:schemeClr val="tx1"/>
                </a:solidFill>
                <a:latin typeface="Arial Narrow" panose="020B0604020202020204" pitchFamily="34" charset="0"/>
              </a:defRPr>
            </a:lvl1pPr>
          </a:lstStyle>
          <a:p>
            <a:pPr lvl="0"/>
            <a:r>
              <a:rPr lang="es-ES"/>
              <a:t>TOPIC</a:t>
            </a:r>
          </a:p>
        </p:txBody>
      </p:sp>
      <p:sp>
        <p:nvSpPr>
          <p:cNvPr id="32" name="Marcador de texto 37">
            <a:extLst>
              <a:ext uri="{FF2B5EF4-FFF2-40B4-BE49-F238E27FC236}">
                <a16:creationId xmlns:a16="http://schemas.microsoft.com/office/drawing/2014/main" id="{802F8A31-99D0-0871-F95B-45F05AFC2E50}"/>
              </a:ext>
            </a:extLst>
          </p:cNvPr>
          <p:cNvSpPr>
            <a:spLocks noGrp="1"/>
          </p:cNvSpPr>
          <p:nvPr>
            <p:ph type="body" sz="quarter" idx="36" hasCustomPrompt="1"/>
          </p:nvPr>
        </p:nvSpPr>
        <p:spPr>
          <a:xfrm>
            <a:off x="5735824" y="2585191"/>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33" name="Marcador de texto 37">
            <a:extLst>
              <a:ext uri="{FF2B5EF4-FFF2-40B4-BE49-F238E27FC236}">
                <a16:creationId xmlns:a16="http://schemas.microsoft.com/office/drawing/2014/main" id="{802F8A31-99D0-0871-F95B-45F05AFC2E50}"/>
              </a:ext>
            </a:extLst>
          </p:cNvPr>
          <p:cNvSpPr>
            <a:spLocks noGrp="1"/>
          </p:cNvSpPr>
          <p:nvPr>
            <p:ph type="body" sz="quarter" idx="37" hasCustomPrompt="1"/>
          </p:nvPr>
        </p:nvSpPr>
        <p:spPr>
          <a:xfrm>
            <a:off x="8561441" y="2576992"/>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34" name="Marcador de texto 37">
            <a:extLst>
              <a:ext uri="{FF2B5EF4-FFF2-40B4-BE49-F238E27FC236}">
                <a16:creationId xmlns:a16="http://schemas.microsoft.com/office/drawing/2014/main" id="{802F8A31-99D0-0871-F95B-45F05AFC2E50}"/>
              </a:ext>
            </a:extLst>
          </p:cNvPr>
          <p:cNvSpPr>
            <a:spLocks noGrp="1"/>
          </p:cNvSpPr>
          <p:nvPr>
            <p:ph type="body" sz="quarter" idx="38" hasCustomPrompt="1"/>
          </p:nvPr>
        </p:nvSpPr>
        <p:spPr>
          <a:xfrm>
            <a:off x="2871788" y="4872575"/>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35" name="Marcador de texto 37">
            <a:extLst>
              <a:ext uri="{FF2B5EF4-FFF2-40B4-BE49-F238E27FC236}">
                <a16:creationId xmlns:a16="http://schemas.microsoft.com/office/drawing/2014/main" id="{802F8A31-99D0-0871-F95B-45F05AFC2E50}"/>
              </a:ext>
            </a:extLst>
          </p:cNvPr>
          <p:cNvSpPr>
            <a:spLocks noGrp="1"/>
          </p:cNvSpPr>
          <p:nvPr>
            <p:ph type="body" sz="quarter" idx="39" hasCustomPrompt="1"/>
          </p:nvPr>
        </p:nvSpPr>
        <p:spPr>
          <a:xfrm>
            <a:off x="5733830" y="4872575"/>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36" name="Marcador de texto 37">
            <a:extLst>
              <a:ext uri="{FF2B5EF4-FFF2-40B4-BE49-F238E27FC236}">
                <a16:creationId xmlns:a16="http://schemas.microsoft.com/office/drawing/2014/main" id="{802F8A31-99D0-0871-F95B-45F05AFC2E50}"/>
              </a:ext>
            </a:extLst>
          </p:cNvPr>
          <p:cNvSpPr>
            <a:spLocks noGrp="1"/>
          </p:cNvSpPr>
          <p:nvPr>
            <p:ph type="body" sz="quarter" idx="40" hasCustomPrompt="1"/>
          </p:nvPr>
        </p:nvSpPr>
        <p:spPr>
          <a:xfrm>
            <a:off x="8561441" y="4872575"/>
            <a:ext cx="2530088" cy="683880"/>
          </a:xfrm>
          <a:prstGeom prst="rect">
            <a:avLst/>
          </a:prstGeom>
        </p:spPr>
        <p:txBody>
          <a:bodyPr/>
          <a:lstStyle>
            <a:lvl1pPr marL="285750" indent="-285750">
              <a:lnSpc>
                <a:spcPts val="1280"/>
              </a:lnSpc>
              <a:buFont typeface="Arial" panose="020B0604020202020204" pitchFamily="34" charset="0"/>
              <a:buChar char="•"/>
              <a:defRPr sz="1400" b="0" i="0">
                <a:solidFill>
                  <a:schemeClr val="tx1"/>
                </a:solidFill>
                <a:latin typeface="Arial" panose="020B0604020202020204" pitchFamily="34" charset="0"/>
                <a:cs typeface="Arial" panose="020B0604020202020204" pitchFamily="34" charset="0"/>
              </a:defRPr>
            </a:lvl1pPr>
          </a:lstStyle>
          <a:p>
            <a:pPr lvl="0"/>
            <a:r>
              <a:rPr lang="es-ES" err="1"/>
              <a:t>Description</a:t>
            </a:r>
            <a:endParaRPr lang="es-ES"/>
          </a:p>
          <a:p>
            <a:pPr lvl="0"/>
            <a:r>
              <a:rPr lang="es-ES" err="1"/>
              <a:t>Description</a:t>
            </a:r>
            <a:endParaRPr lang="es-ES"/>
          </a:p>
        </p:txBody>
      </p:sp>
      <p:sp>
        <p:nvSpPr>
          <p:cNvPr id="31" name="Marcador de texto 37">
            <a:extLst>
              <a:ext uri="{FF2B5EF4-FFF2-40B4-BE49-F238E27FC236}">
                <a16:creationId xmlns:a16="http://schemas.microsoft.com/office/drawing/2014/main" id="{B38C3353-7955-8A46-E3EA-C84E7D4C1303}"/>
              </a:ext>
            </a:extLst>
          </p:cNvPr>
          <p:cNvSpPr>
            <a:spLocks noGrp="1"/>
          </p:cNvSpPr>
          <p:nvPr>
            <p:ph type="body" sz="quarter" idx="4294967295" hasCustomPrompt="1"/>
          </p:nvPr>
        </p:nvSpPr>
        <p:spPr>
          <a:xfrm>
            <a:off x="2871788" y="3783426"/>
            <a:ext cx="776249"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4</a:t>
            </a:r>
          </a:p>
        </p:txBody>
      </p:sp>
      <p:sp>
        <p:nvSpPr>
          <p:cNvPr id="37" name="Marcador de texto 37">
            <a:extLst>
              <a:ext uri="{FF2B5EF4-FFF2-40B4-BE49-F238E27FC236}">
                <a16:creationId xmlns:a16="http://schemas.microsoft.com/office/drawing/2014/main" id="{A9F00150-531E-8A13-105A-7DB1E6338827}"/>
              </a:ext>
            </a:extLst>
          </p:cNvPr>
          <p:cNvSpPr>
            <a:spLocks noGrp="1"/>
          </p:cNvSpPr>
          <p:nvPr>
            <p:ph type="body" sz="quarter" idx="4294967295" hasCustomPrompt="1"/>
          </p:nvPr>
        </p:nvSpPr>
        <p:spPr>
          <a:xfrm>
            <a:off x="5733830" y="3783426"/>
            <a:ext cx="768683"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5</a:t>
            </a:r>
          </a:p>
        </p:txBody>
      </p:sp>
      <p:sp>
        <p:nvSpPr>
          <p:cNvPr id="39" name="Marcador de texto 37">
            <a:extLst>
              <a:ext uri="{FF2B5EF4-FFF2-40B4-BE49-F238E27FC236}">
                <a16:creationId xmlns:a16="http://schemas.microsoft.com/office/drawing/2014/main" id="{17F6CBE0-9CF6-2147-3B3B-751D7E4DF9BA}"/>
              </a:ext>
            </a:extLst>
          </p:cNvPr>
          <p:cNvSpPr>
            <a:spLocks noGrp="1"/>
          </p:cNvSpPr>
          <p:nvPr>
            <p:ph type="body" sz="quarter" idx="4294967295" hasCustomPrompt="1"/>
          </p:nvPr>
        </p:nvSpPr>
        <p:spPr>
          <a:xfrm>
            <a:off x="8561555" y="3783426"/>
            <a:ext cx="733962"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6</a:t>
            </a:r>
          </a:p>
        </p:txBody>
      </p:sp>
      <p:sp>
        <p:nvSpPr>
          <p:cNvPr id="40" name="CuadroTexto 39">
            <a:extLst>
              <a:ext uri="{FF2B5EF4-FFF2-40B4-BE49-F238E27FC236}">
                <a16:creationId xmlns:a16="http://schemas.microsoft.com/office/drawing/2014/main" id="{97E164A5-8E6E-1001-315B-F1C863DEC9BB}"/>
              </a:ext>
            </a:extLst>
          </p:cNvPr>
          <p:cNvSpPr txBox="1"/>
          <p:nvPr userDrawn="1"/>
        </p:nvSpPr>
        <p:spPr>
          <a:xfrm>
            <a:off x="543015" y="529163"/>
            <a:ext cx="1490982" cy="646331"/>
          </a:xfrm>
          <a:prstGeom prst="rect">
            <a:avLst/>
          </a:prstGeom>
          <a:noFill/>
        </p:spPr>
        <p:txBody>
          <a:bodyPr wrap="square">
            <a:spAutoFit/>
          </a:bodyPr>
          <a:lstStyle/>
          <a:p>
            <a:r>
              <a:rPr lang="es-ES" sz="3600" b="1" i="0">
                <a:solidFill>
                  <a:srgbClr val="0042ED"/>
                </a:solidFill>
                <a:latin typeface="Arial Narrow" panose="020B0604020202020204" pitchFamily="34" charset="0"/>
              </a:rPr>
              <a:t>INDEX</a:t>
            </a:r>
          </a:p>
        </p:txBody>
      </p:sp>
    </p:spTree>
    <p:extLst>
      <p:ext uri="{BB962C8B-B14F-4D97-AF65-F5344CB8AC3E}">
        <p14:creationId xmlns:p14="http://schemas.microsoft.com/office/powerpoint/2010/main" val="220926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63" Type="http://schemas.openxmlformats.org/officeDocument/2006/relationships/theme" Target="../theme/theme2.xml"/><Relationship Id="rId68" Type="http://schemas.openxmlformats.org/officeDocument/2006/relationships/image" Target="../media/image4.png"/><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66" Type="http://schemas.openxmlformats.org/officeDocument/2006/relationships/oleObject" Target="../embeddings/oleObject3.bin"/><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61" Type="http://schemas.openxmlformats.org/officeDocument/2006/relationships/slideLayout" Target="../slideLayouts/slideLayout69.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65" Type="http://schemas.openxmlformats.org/officeDocument/2006/relationships/tags" Target="../tags/tag4.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vmlDrawing" Target="../drawings/vmlDrawing4.vml"/><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67" Type="http://schemas.openxmlformats.org/officeDocument/2006/relationships/image" Target="../media/image1.emf"/><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42ED"/>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3CE4C2-11E9-7C73-3EE1-C3D3BA1E4ADB}"/>
              </a:ext>
            </a:extLst>
          </p:cNvPr>
          <p:cNvGraphicFramePr>
            <a:graphicFrameLocks noChangeAspect="1"/>
          </p:cNvGraphicFramePr>
          <p:nvPr userDrawn="1">
            <p:custDataLst>
              <p:tags r:id="rId11"/>
            </p:custDataLst>
            <p:extLst>
              <p:ext uri="{D42A27DB-BD31-4B8C-83A1-F6EECF244321}">
                <p14:modId xmlns:p14="http://schemas.microsoft.com/office/powerpoint/2010/main" val="182523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12" imgW="411" imgH="411" progId="TCLayout.ActiveDocument.1">
                  <p:embed/>
                </p:oleObj>
              </mc:Choice>
              <mc:Fallback>
                <p:oleObj name="Diapositiva de think-cell" r:id="rId12" imgW="411" imgH="411" progId="TCLayout.ActiveDocument.1">
                  <p:embed/>
                  <p:pic>
                    <p:nvPicPr>
                      <p:cNvPr id="2" name="think-cell data - do not delete" hidden="1">
                        <a:extLst>
                          <a:ext uri="{FF2B5EF4-FFF2-40B4-BE49-F238E27FC236}">
                            <a16:creationId xmlns:a16="http://schemas.microsoft.com/office/drawing/2014/main" id="{293CE4C2-11E9-7C73-3EE1-C3D3BA1E4A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2495056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701" r:id="rId4"/>
    <p:sldLayoutId id="2147483703" r:id="rId5"/>
    <p:sldLayoutId id="2147483704" r:id="rId6"/>
    <p:sldLayoutId id="2147483700" r:id="rId7"/>
    <p:sldLayoutId id="2147483702"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C7E3B5-5000-A9F6-A25A-16241F318879}"/>
              </a:ext>
            </a:extLst>
          </p:cNvPr>
          <p:cNvGraphicFramePr>
            <a:graphicFrameLocks noChangeAspect="1"/>
          </p:cNvGraphicFramePr>
          <p:nvPr userDrawn="1">
            <p:custDataLst>
              <p:tags r:id="rId65"/>
            </p:custDataLst>
            <p:extLst>
              <p:ext uri="{D42A27DB-BD31-4B8C-83A1-F6EECF244321}">
                <p14:modId xmlns:p14="http://schemas.microsoft.com/office/powerpoint/2010/main" val="1319760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Diapositiva de think-cell" r:id="rId66" imgW="411" imgH="411" progId="TCLayout.ActiveDocument.1">
                  <p:embed/>
                </p:oleObj>
              </mc:Choice>
              <mc:Fallback>
                <p:oleObj name="Diapositiva de think-cell" r:id="rId66" imgW="411" imgH="411" progId="TCLayout.ActiveDocument.1">
                  <p:embed/>
                  <p:pic>
                    <p:nvPicPr>
                      <p:cNvPr id="2" name="think-cell data - do not delete" hidden="1">
                        <a:extLst>
                          <a:ext uri="{FF2B5EF4-FFF2-40B4-BE49-F238E27FC236}">
                            <a16:creationId xmlns:a16="http://schemas.microsoft.com/office/drawing/2014/main" id="{F3C7E3B5-5000-A9F6-A25A-16241F318879}"/>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5" name="Marcador de pie de página 4">
            <a:extLst>
              <a:ext uri="{FF2B5EF4-FFF2-40B4-BE49-F238E27FC236}">
                <a16:creationId xmlns:a16="http://schemas.microsoft.com/office/drawing/2014/main" id="{BB16B022-E419-DAC1-F10F-2F427AA44170}"/>
              </a:ext>
            </a:extLst>
          </p:cNvPr>
          <p:cNvSpPr>
            <a:spLocks noGrp="1"/>
          </p:cNvSpPr>
          <p:nvPr>
            <p:ph type="ftr" sz="quarter" idx="3"/>
          </p:nvPr>
        </p:nvSpPr>
        <p:spPr>
          <a:xfrm>
            <a:off x="8605477" y="6356350"/>
            <a:ext cx="2205958" cy="365125"/>
          </a:xfrm>
          <a:prstGeom prst="rect">
            <a:avLst/>
          </a:prstGeom>
        </p:spPr>
        <p:txBody>
          <a:bodyPr vert="horz" lIns="91440" tIns="45720" rIns="91440" bIns="45720" rtlCol="0" anchor="ctr"/>
          <a:lstStyle>
            <a:lvl1pPr algn="l">
              <a:defRPr sz="900" b="0" i="0">
                <a:solidFill>
                  <a:schemeClr val="bg2">
                    <a:lumMod val="75000"/>
                  </a:schemeClr>
                </a:solidFill>
                <a:latin typeface="Arial" panose="020B0604020202020204" pitchFamily="34" charset="0"/>
                <a:cs typeface="Arial" panose="020B0604020202020204" pitchFamily="34" charset="0"/>
              </a:defRPr>
            </a:lvl1pPr>
          </a:lstStyle>
          <a:p>
            <a:r>
              <a:rPr lang="en-US">
                <a:sym typeface="Century Gothic" panose="020B0502020202020204" pitchFamily="34" charset="0"/>
              </a:rPr>
              <a:t>Proprietary Information - Confidential</a:t>
            </a:r>
          </a:p>
        </p:txBody>
      </p:sp>
      <p:sp>
        <p:nvSpPr>
          <p:cNvPr id="6" name="Marcador de número de diapositiva 5">
            <a:extLst>
              <a:ext uri="{FF2B5EF4-FFF2-40B4-BE49-F238E27FC236}">
                <a16:creationId xmlns:a16="http://schemas.microsoft.com/office/drawing/2014/main" id="{BC945102-6542-2924-0BD5-4A245B00FDF5}"/>
              </a:ext>
            </a:extLst>
          </p:cNvPr>
          <p:cNvSpPr>
            <a:spLocks noGrp="1"/>
          </p:cNvSpPr>
          <p:nvPr>
            <p:ph type="sldNum" sz="quarter" idx="4"/>
          </p:nvPr>
        </p:nvSpPr>
        <p:spPr>
          <a:xfrm>
            <a:off x="10834487" y="6356350"/>
            <a:ext cx="980356" cy="365125"/>
          </a:xfrm>
          <a:prstGeom prst="rect">
            <a:avLst/>
          </a:prstGeom>
        </p:spPr>
        <p:txBody>
          <a:bodyPr vert="horz" lIns="91440" tIns="45720" rIns="91440" bIns="45720" rtlCol="0" anchor="ctr"/>
          <a:lstStyle>
            <a:lvl1pPr algn="r">
              <a:defRPr sz="900" b="0" i="0">
                <a:solidFill>
                  <a:schemeClr val="tx1"/>
                </a:solidFill>
                <a:latin typeface="Arial" panose="020B0604020202020204" pitchFamily="34" charset="0"/>
                <a:cs typeface="Arial" panose="020B0604020202020204" pitchFamily="34" charset="0"/>
              </a:defRPr>
            </a:lvl1pPr>
          </a:lstStyle>
          <a:p>
            <a:fld id="{FF2CED2D-DE01-CB40-AEF5-C9DD7CD06225}" type="slidenum">
              <a:rPr lang="es-ES" smtClean="0"/>
              <a:pPr/>
              <a:t>‹Nº›</a:t>
            </a:fld>
            <a:endParaRPr lang="es-ES"/>
          </a:p>
        </p:txBody>
      </p:sp>
      <p:pic>
        <p:nvPicPr>
          <p:cNvPr id="8" name="Imagen 7" descr="Logotipo&#10;&#10;Descripción generada automáticamente">
            <a:extLst>
              <a:ext uri="{FF2B5EF4-FFF2-40B4-BE49-F238E27FC236}">
                <a16:creationId xmlns:a16="http://schemas.microsoft.com/office/drawing/2014/main" id="{E0CEAAA2-5893-249E-BC34-71764F2E750C}"/>
              </a:ext>
            </a:extLst>
          </p:cNvPr>
          <p:cNvPicPr>
            <a:picLocks noChangeAspect="1"/>
          </p:cNvPicPr>
          <p:nvPr userDrawn="1"/>
        </p:nvPicPr>
        <p:blipFill>
          <a:blip r:embed="rId68"/>
          <a:stretch>
            <a:fillRect/>
          </a:stretch>
        </p:blipFill>
        <p:spPr>
          <a:xfrm>
            <a:off x="518337" y="6184950"/>
            <a:ext cx="934995" cy="565394"/>
          </a:xfrm>
          <a:prstGeom prst="rect">
            <a:avLst/>
          </a:prstGeom>
        </p:spPr>
      </p:pic>
    </p:spTree>
    <p:extLst>
      <p:ext uri="{BB962C8B-B14F-4D97-AF65-F5344CB8AC3E}">
        <p14:creationId xmlns:p14="http://schemas.microsoft.com/office/powerpoint/2010/main" val="2968974468"/>
      </p:ext>
    </p:extLst>
  </p:cSld>
  <p:clrMap bg1="lt1" tx1="dk1" bg2="lt2" tx2="dk2" accent1="accent1" accent2="accent2" accent3="accent3" accent4="accent4" accent5="accent5" accent6="accent6" hlink="hlink" folHlink="folHlink"/>
  <p:sldLayoutIdLst>
    <p:sldLayoutId id="2147483649" r:id="rId1"/>
    <p:sldLayoutId id="2147483717" r:id="rId2"/>
    <p:sldLayoutId id="2147483662" r:id="rId3"/>
    <p:sldLayoutId id="2147483663" r:id="rId4"/>
    <p:sldLayoutId id="2147483722" r:id="rId5"/>
    <p:sldLayoutId id="2147483720" r:id="rId6"/>
    <p:sldLayoutId id="2147483724" r:id="rId7"/>
    <p:sldLayoutId id="2147483726" r:id="rId8"/>
    <p:sldLayoutId id="2147483728" r:id="rId9"/>
    <p:sldLayoutId id="2147483725" r:id="rId10"/>
    <p:sldLayoutId id="2147483734" r:id="rId11"/>
    <p:sldLayoutId id="2147483733" r:id="rId12"/>
    <p:sldLayoutId id="2147483746" r:id="rId13"/>
    <p:sldLayoutId id="2147483747" r:id="rId14"/>
    <p:sldLayoutId id="2147483748" r:id="rId15"/>
    <p:sldLayoutId id="2147483749" r:id="rId16"/>
    <p:sldLayoutId id="2147483667" r:id="rId17"/>
    <p:sldLayoutId id="2147483730" r:id="rId18"/>
    <p:sldLayoutId id="2147483731" r:id="rId19"/>
    <p:sldLayoutId id="2147483732" r:id="rId20"/>
    <p:sldLayoutId id="2147483735" r:id="rId21"/>
    <p:sldLayoutId id="2147483736" r:id="rId22"/>
    <p:sldLayoutId id="2147483737" r:id="rId23"/>
    <p:sldLayoutId id="2147483750" r:id="rId24"/>
    <p:sldLayoutId id="2147483751" r:id="rId25"/>
    <p:sldLayoutId id="2147483752" r:id="rId26"/>
    <p:sldLayoutId id="2147483683" r:id="rId27"/>
    <p:sldLayoutId id="2147483684" r:id="rId28"/>
    <p:sldLayoutId id="2147483715" r:id="rId29"/>
    <p:sldLayoutId id="2147483729" r:id="rId30"/>
    <p:sldLayoutId id="2147483727" r:id="rId31"/>
    <p:sldLayoutId id="2147483691" r:id="rId32"/>
    <p:sldLayoutId id="2147483690" r:id="rId33"/>
    <p:sldLayoutId id="2147483692" r:id="rId34"/>
    <p:sldLayoutId id="2147483668" r:id="rId35"/>
    <p:sldLayoutId id="2147483674" r:id="rId36"/>
    <p:sldLayoutId id="2147483669" r:id="rId37"/>
    <p:sldLayoutId id="2147483670" r:id="rId38"/>
    <p:sldLayoutId id="2147483671" r:id="rId39"/>
    <p:sldLayoutId id="2147483672" r:id="rId40"/>
    <p:sldLayoutId id="2147483673" r:id="rId41"/>
    <p:sldLayoutId id="2147483675" r:id="rId42"/>
    <p:sldLayoutId id="2147483676" r:id="rId43"/>
    <p:sldLayoutId id="2147483678" r:id="rId44"/>
    <p:sldLayoutId id="2147483677" r:id="rId45"/>
    <p:sldLayoutId id="2147483679" r:id="rId46"/>
    <p:sldLayoutId id="2147483680" r:id="rId47"/>
    <p:sldLayoutId id="2147483681" r:id="rId48"/>
    <p:sldLayoutId id="2147483682" r:id="rId49"/>
    <p:sldLayoutId id="2147483711" r:id="rId50"/>
    <p:sldLayoutId id="2147483712" r:id="rId51"/>
    <p:sldLayoutId id="2147483713" r:id="rId52"/>
    <p:sldLayoutId id="2147483688" r:id="rId53"/>
    <p:sldLayoutId id="2147483693" r:id="rId54"/>
    <p:sldLayoutId id="2147483697" r:id="rId55"/>
    <p:sldLayoutId id="2147483694" r:id="rId56"/>
    <p:sldLayoutId id="2147483695" r:id="rId57"/>
    <p:sldLayoutId id="2147483696" r:id="rId58"/>
    <p:sldLayoutId id="2147483665" r:id="rId59"/>
    <p:sldLayoutId id="2147483718" r:id="rId60"/>
    <p:sldLayoutId id="2147483698" r:id="rId61"/>
    <p:sldLayoutId id="2147483745" r:id="rId6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40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39.xml"/><Relationship Id="rId5" Type="http://schemas.openxmlformats.org/officeDocument/2006/relationships/image" Target="../media/image10.svg"/><Relationship Id="rId4" Type="http://schemas.openxmlformats.org/officeDocument/2006/relationships/image" Target="../media/image1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13" Type="http://schemas.openxmlformats.org/officeDocument/2006/relationships/image" Target="../media/image32.emf"/><Relationship Id="rId18" Type="http://schemas.openxmlformats.org/officeDocument/2006/relationships/image" Target="../media/image37.emf"/><Relationship Id="rId26" Type="http://schemas.openxmlformats.org/officeDocument/2006/relationships/image" Target="../media/image45.emf"/><Relationship Id="rId39" Type="http://schemas.openxmlformats.org/officeDocument/2006/relationships/image" Target="../media/image58.emf"/><Relationship Id="rId21" Type="http://schemas.openxmlformats.org/officeDocument/2006/relationships/image" Target="../media/image40.emf"/><Relationship Id="rId34" Type="http://schemas.openxmlformats.org/officeDocument/2006/relationships/image" Target="../media/image53.emf"/><Relationship Id="rId42" Type="http://schemas.openxmlformats.org/officeDocument/2006/relationships/image" Target="../media/image61.emf"/><Relationship Id="rId47" Type="http://schemas.openxmlformats.org/officeDocument/2006/relationships/image" Target="../media/image66.emf"/><Relationship Id="rId50" Type="http://schemas.openxmlformats.org/officeDocument/2006/relationships/image" Target="../media/image69.emf"/><Relationship Id="rId55" Type="http://schemas.openxmlformats.org/officeDocument/2006/relationships/image" Target="../media/image74.emf"/><Relationship Id="rId7" Type="http://schemas.openxmlformats.org/officeDocument/2006/relationships/image" Target="../media/image26.emf"/><Relationship Id="rId12" Type="http://schemas.openxmlformats.org/officeDocument/2006/relationships/image" Target="../media/image31.emf"/><Relationship Id="rId17" Type="http://schemas.openxmlformats.org/officeDocument/2006/relationships/image" Target="../media/image36.emf"/><Relationship Id="rId25" Type="http://schemas.openxmlformats.org/officeDocument/2006/relationships/image" Target="../media/image44.emf"/><Relationship Id="rId33" Type="http://schemas.openxmlformats.org/officeDocument/2006/relationships/image" Target="../media/image52.emf"/><Relationship Id="rId38" Type="http://schemas.openxmlformats.org/officeDocument/2006/relationships/image" Target="../media/image57.emf"/><Relationship Id="rId46" Type="http://schemas.openxmlformats.org/officeDocument/2006/relationships/image" Target="../media/image65.emf"/><Relationship Id="rId2" Type="http://schemas.openxmlformats.org/officeDocument/2006/relationships/image" Target="../media/image21.emf"/><Relationship Id="rId16" Type="http://schemas.openxmlformats.org/officeDocument/2006/relationships/image" Target="../media/image35.emf"/><Relationship Id="rId20" Type="http://schemas.openxmlformats.org/officeDocument/2006/relationships/image" Target="../media/image39.emf"/><Relationship Id="rId29" Type="http://schemas.openxmlformats.org/officeDocument/2006/relationships/image" Target="../media/image48.emf"/><Relationship Id="rId41" Type="http://schemas.openxmlformats.org/officeDocument/2006/relationships/image" Target="../media/image60.emf"/><Relationship Id="rId54" Type="http://schemas.openxmlformats.org/officeDocument/2006/relationships/image" Target="../media/image73.emf"/><Relationship Id="rId1" Type="http://schemas.openxmlformats.org/officeDocument/2006/relationships/slideLayout" Target="../slideLayouts/slideLayout15.xml"/><Relationship Id="rId6" Type="http://schemas.openxmlformats.org/officeDocument/2006/relationships/image" Target="../media/image25.emf"/><Relationship Id="rId11" Type="http://schemas.openxmlformats.org/officeDocument/2006/relationships/image" Target="../media/image30.emf"/><Relationship Id="rId24" Type="http://schemas.openxmlformats.org/officeDocument/2006/relationships/image" Target="../media/image43.emf"/><Relationship Id="rId32" Type="http://schemas.openxmlformats.org/officeDocument/2006/relationships/image" Target="../media/image51.emf"/><Relationship Id="rId37" Type="http://schemas.openxmlformats.org/officeDocument/2006/relationships/image" Target="../media/image56.emf"/><Relationship Id="rId40" Type="http://schemas.openxmlformats.org/officeDocument/2006/relationships/image" Target="../media/image59.emf"/><Relationship Id="rId45" Type="http://schemas.openxmlformats.org/officeDocument/2006/relationships/image" Target="../media/image64.emf"/><Relationship Id="rId53" Type="http://schemas.openxmlformats.org/officeDocument/2006/relationships/image" Target="../media/image72.emf"/><Relationship Id="rId5" Type="http://schemas.openxmlformats.org/officeDocument/2006/relationships/image" Target="../media/image24.emf"/><Relationship Id="rId15" Type="http://schemas.openxmlformats.org/officeDocument/2006/relationships/image" Target="../media/image34.emf"/><Relationship Id="rId23" Type="http://schemas.openxmlformats.org/officeDocument/2006/relationships/image" Target="../media/image42.emf"/><Relationship Id="rId28" Type="http://schemas.openxmlformats.org/officeDocument/2006/relationships/image" Target="../media/image47.emf"/><Relationship Id="rId36" Type="http://schemas.openxmlformats.org/officeDocument/2006/relationships/image" Target="../media/image55.emf"/><Relationship Id="rId49" Type="http://schemas.openxmlformats.org/officeDocument/2006/relationships/image" Target="../media/image68.emf"/><Relationship Id="rId10" Type="http://schemas.openxmlformats.org/officeDocument/2006/relationships/image" Target="../media/image29.emf"/><Relationship Id="rId19" Type="http://schemas.openxmlformats.org/officeDocument/2006/relationships/image" Target="../media/image38.emf"/><Relationship Id="rId31" Type="http://schemas.openxmlformats.org/officeDocument/2006/relationships/image" Target="../media/image50.emf"/><Relationship Id="rId44" Type="http://schemas.openxmlformats.org/officeDocument/2006/relationships/image" Target="../media/image63.emf"/><Relationship Id="rId52" Type="http://schemas.openxmlformats.org/officeDocument/2006/relationships/image" Target="../media/image71.emf"/><Relationship Id="rId4" Type="http://schemas.openxmlformats.org/officeDocument/2006/relationships/image" Target="../media/image23.emf"/><Relationship Id="rId9" Type="http://schemas.openxmlformats.org/officeDocument/2006/relationships/image" Target="../media/image28.emf"/><Relationship Id="rId14" Type="http://schemas.openxmlformats.org/officeDocument/2006/relationships/image" Target="../media/image33.emf"/><Relationship Id="rId22" Type="http://schemas.openxmlformats.org/officeDocument/2006/relationships/image" Target="../media/image41.emf"/><Relationship Id="rId27" Type="http://schemas.openxmlformats.org/officeDocument/2006/relationships/image" Target="../media/image46.emf"/><Relationship Id="rId30" Type="http://schemas.openxmlformats.org/officeDocument/2006/relationships/image" Target="../media/image49.emf"/><Relationship Id="rId35" Type="http://schemas.openxmlformats.org/officeDocument/2006/relationships/image" Target="../media/image54.emf"/><Relationship Id="rId43" Type="http://schemas.openxmlformats.org/officeDocument/2006/relationships/image" Target="../media/image62.emf"/><Relationship Id="rId48" Type="http://schemas.openxmlformats.org/officeDocument/2006/relationships/image" Target="../media/image67.emf"/><Relationship Id="rId8" Type="http://schemas.openxmlformats.org/officeDocument/2006/relationships/image" Target="../media/image27.emf"/><Relationship Id="rId51" Type="http://schemas.openxmlformats.org/officeDocument/2006/relationships/image" Target="../media/image70.emf"/><Relationship Id="rId3" Type="http://schemas.openxmlformats.org/officeDocument/2006/relationships/image" Target="../media/image22.emf"/></Relationships>
</file>

<file path=ppt/slides/_rels/slide61.xml.rels><?xml version="1.0" encoding="UTF-8" standalone="yes"?>
<Relationships xmlns="http://schemas.openxmlformats.org/package/2006/relationships"><Relationship Id="rId8" Type="http://schemas.openxmlformats.org/officeDocument/2006/relationships/image" Target="../media/image27.emf"/><Relationship Id="rId13" Type="http://schemas.openxmlformats.org/officeDocument/2006/relationships/image" Target="../media/image32.emf"/><Relationship Id="rId18" Type="http://schemas.openxmlformats.org/officeDocument/2006/relationships/image" Target="../media/image37.emf"/><Relationship Id="rId26" Type="http://schemas.openxmlformats.org/officeDocument/2006/relationships/image" Target="../media/image45.emf"/><Relationship Id="rId3" Type="http://schemas.openxmlformats.org/officeDocument/2006/relationships/image" Target="../media/image22.emf"/><Relationship Id="rId21" Type="http://schemas.openxmlformats.org/officeDocument/2006/relationships/image" Target="../media/image40.emf"/><Relationship Id="rId7" Type="http://schemas.openxmlformats.org/officeDocument/2006/relationships/image" Target="../media/image26.emf"/><Relationship Id="rId12" Type="http://schemas.openxmlformats.org/officeDocument/2006/relationships/image" Target="../media/image31.emf"/><Relationship Id="rId17" Type="http://schemas.openxmlformats.org/officeDocument/2006/relationships/image" Target="../media/image36.emf"/><Relationship Id="rId25" Type="http://schemas.openxmlformats.org/officeDocument/2006/relationships/image" Target="../media/image44.emf"/><Relationship Id="rId2" Type="http://schemas.openxmlformats.org/officeDocument/2006/relationships/image" Target="../media/image21.emf"/><Relationship Id="rId16" Type="http://schemas.openxmlformats.org/officeDocument/2006/relationships/image" Target="../media/image35.emf"/><Relationship Id="rId20" Type="http://schemas.openxmlformats.org/officeDocument/2006/relationships/image" Target="../media/image39.emf"/><Relationship Id="rId1" Type="http://schemas.openxmlformats.org/officeDocument/2006/relationships/slideLayout" Target="../slideLayouts/slideLayout15.xml"/><Relationship Id="rId6" Type="http://schemas.openxmlformats.org/officeDocument/2006/relationships/image" Target="../media/image25.emf"/><Relationship Id="rId11" Type="http://schemas.openxmlformats.org/officeDocument/2006/relationships/image" Target="../media/image30.emf"/><Relationship Id="rId24" Type="http://schemas.openxmlformats.org/officeDocument/2006/relationships/image" Target="../media/image43.emf"/><Relationship Id="rId5" Type="http://schemas.openxmlformats.org/officeDocument/2006/relationships/image" Target="../media/image24.emf"/><Relationship Id="rId15" Type="http://schemas.openxmlformats.org/officeDocument/2006/relationships/image" Target="../media/image34.emf"/><Relationship Id="rId23" Type="http://schemas.openxmlformats.org/officeDocument/2006/relationships/image" Target="../media/image42.emf"/><Relationship Id="rId28" Type="http://schemas.openxmlformats.org/officeDocument/2006/relationships/image" Target="../media/image47.emf"/><Relationship Id="rId10" Type="http://schemas.openxmlformats.org/officeDocument/2006/relationships/image" Target="../media/image29.emf"/><Relationship Id="rId19" Type="http://schemas.openxmlformats.org/officeDocument/2006/relationships/image" Target="../media/image38.emf"/><Relationship Id="rId4" Type="http://schemas.openxmlformats.org/officeDocument/2006/relationships/image" Target="../media/image23.emf"/><Relationship Id="rId9" Type="http://schemas.openxmlformats.org/officeDocument/2006/relationships/image" Target="../media/image28.emf"/><Relationship Id="rId14" Type="http://schemas.openxmlformats.org/officeDocument/2006/relationships/image" Target="../media/image33.emf"/><Relationship Id="rId22" Type="http://schemas.openxmlformats.org/officeDocument/2006/relationships/image" Target="../media/image41.emf"/><Relationship Id="rId27" Type="http://schemas.openxmlformats.org/officeDocument/2006/relationships/image" Target="../media/image46.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B1D0E-4B0F-A0A1-789D-449A8184CE1B}"/>
              </a:ext>
            </a:extLst>
          </p:cNvPr>
          <p:cNvSpPr>
            <a:spLocks noGrp="1"/>
          </p:cNvSpPr>
          <p:nvPr>
            <p:ph type="title"/>
          </p:nvPr>
        </p:nvSpPr>
        <p:spPr/>
        <p:txBody>
          <a:bodyPr/>
          <a:lstStyle/>
          <a:p>
            <a:r>
              <a:rPr lang="en-GB" dirty="0"/>
              <a:t>PROGRESO DIGITALIZACIÓN RSW</a:t>
            </a:r>
            <a:endParaRPr lang="en-US" dirty="0"/>
          </a:p>
        </p:txBody>
      </p:sp>
      <p:sp>
        <p:nvSpPr>
          <p:cNvPr id="3" name="Text Placeholder 2">
            <a:extLst>
              <a:ext uri="{FF2B5EF4-FFF2-40B4-BE49-F238E27FC236}">
                <a16:creationId xmlns:a16="http://schemas.microsoft.com/office/drawing/2014/main" id="{4A460538-03CB-6A93-25B6-6A906DDF151A}"/>
              </a:ext>
            </a:extLst>
          </p:cNvPr>
          <p:cNvSpPr>
            <a:spLocks noGrp="1"/>
          </p:cNvSpPr>
          <p:nvPr>
            <p:ph type="body" sz="half" idx="2"/>
          </p:nvPr>
        </p:nvSpPr>
        <p:spPr/>
        <p:txBody>
          <a:bodyPr/>
          <a:lstStyle/>
          <a:p>
            <a:r>
              <a:rPr lang="en-GB" dirty="0"/>
              <a:t>Aitor Gomez Garcia</a:t>
            </a:r>
            <a:endParaRPr lang="en-GB" dirty="0"/>
          </a:p>
        </p:txBody>
      </p:sp>
    </p:spTree>
    <p:extLst>
      <p:ext uri="{BB962C8B-B14F-4D97-AF65-F5344CB8AC3E}">
        <p14:creationId xmlns:p14="http://schemas.microsoft.com/office/powerpoint/2010/main" val="1052257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5BC918E-3BC3-5564-4E8C-DD65063D508A}"/>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8EE20640-3DC1-E7B2-660B-7E91E30FB946}"/>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A92B01DC-63AB-1EAC-7CB7-0F869A8C6BA2}"/>
              </a:ext>
            </a:extLst>
          </p:cNvPr>
          <p:cNvSpPr>
            <a:spLocks noGrp="1"/>
          </p:cNvSpPr>
          <p:nvPr>
            <p:ph type="sldNum" sz="quarter" idx="12"/>
          </p:nvPr>
        </p:nvSpPr>
        <p:spPr/>
        <p:txBody>
          <a:bodyPr/>
          <a:lstStyle/>
          <a:p>
            <a:fld id="{FF2CED2D-DE01-CB40-AEF5-C9DD7CD06225}" type="slidenum">
              <a:rPr lang="es-ES" smtClean="0"/>
              <a:t>10</a:t>
            </a:fld>
            <a:endParaRPr lang="es-ES"/>
          </a:p>
        </p:txBody>
      </p:sp>
      <p:sp>
        <p:nvSpPr>
          <p:cNvPr id="5" name="Marcador de texto 4">
            <a:extLst>
              <a:ext uri="{FF2B5EF4-FFF2-40B4-BE49-F238E27FC236}">
                <a16:creationId xmlns:a16="http://schemas.microsoft.com/office/drawing/2014/main" id="{A69293B9-8514-B740-3282-4A531B54FB2C}"/>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48748C94-0A9D-EABD-F54D-08A25F5A5B02}"/>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E6F1DDA5-E517-CC5A-4016-61A47709A9E6}"/>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934245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51F5E378-E3A9-8469-DABC-AEDCB6CBFFFA}"/>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30FC6EB1-1A25-4BD7-8749-A65FC78BD94E}"/>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016A5EF7-CF9C-204A-91B0-C0BF94C0C95B}"/>
              </a:ext>
            </a:extLst>
          </p:cNvPr>
          <p:cNvSpPr>
            <a:spLocks noGrp="1"/>
          </p:cNvSpPr>
          <p:nvPr>
            <p:ph type="sldNum" sz="quarter" idx="12"/>
          </p:nvPr>
        </p:nvSpPr>
        <p:spPr/>
        <p:txBody>
          <a:bodyPr/>
          <a:lstStyle/>
          <a:p>
            <a:fld id="{FF2CED2D-DE01-CB40-AEF5-C9DD7CD06225}" type="slidenum">
              <a:rPr lang="es-ES" smtClean="0"/>
              <a:t>11</a:t>
            </a:fld>
            <a:endParaRPr lang="es-ES"/>
          </a:p>
        </p:txBody>
      </p:sp>
      <p:sp>
        <p:nvSpPr>
          <p:cNvPr id="5" name="Marcador de texto 4">
            <a:extLst>
              <a:ext uri="{FF2B5EF4-FFF2-40B4-BE49-F238E27FC236}">
                <a16:creationId xmlns:a16="http://schemas.microsoft.com/office/drawing/2014/main" id="{5B8A9870-561D-9758-8FDF-10A9199409B2}"/>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90CA3B8A-1E07-14E2-CC21-0EB08F5FDBA8}"/>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66DB94DA-7E26-EDF5-0F11-2FDB95968B14}"/>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4163899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E06142D-314C-C74A-1DFD-AD8CBCA25170}"/>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46D5BCE7-EE6F-12C2-8A3F-E8E3078ABDBC}"/>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40967B7D-047F-7C76-9EB4-6001EBD031F4}"/>
              </a:ext>
            </a:extLst>
          </p:cNvPr>
          <p:cNvSpPr>
            <a:spLocks noGrp="1"/>
          </p:cNvSpPr>
          <p:nvPr>
            <p:ph type="sldNum" sz="quarter" idx="12"/>
          </p:nvPr>
        </p:nvSpPr>
        <p:spPr/>
        <p:txBody>
          <a:bodyPr/>
          <a:lstStyle/>
          <a:p>
            <a:fld id="{FF2CED2D-DE01-CB40-AEF5-C9DD7CD06225}" type="slidenum">
              <a:rPr lang="es-ES" smtClean="0"/>
              <a:t>12</a:t>
            </a:fld>
            <a:endParaRPr lang="es-ES"/>
          </a:p>
        </p:txBody>
      </p:sp>
      <p:sp>
        <p:nvSpPr>
          <p:cNvPr id="5" name="Marcador de texto 4">
            <a:extLst>
              <a:ext uri="{FF2B5EF4-FFF2-40B4-BE49-F238E27FC236}">
                <a16:creationId xmlns:a16="http://schemas.microsoft.com/office/drawing/2014/main" id="{3978B245-BC3A-DB67-6E25-6EAACDA31096}"/>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1BE57B3B-F84C-8AC7-0B67-6AAB7303BB75}"/>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E3B1D66F-3B12-A4F9-A844-752903DC5BC8}"/>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11455858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3581A887-002A-3968-6808-1E68C9EDBD48}"/>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3E70CBB2-D6E6-AB79-A180-D72BC8CFCE01}"/>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66EB9C7A-F94A-9208-7423-A8A9637F4867}"/>
              </a:ext>
            </a:extLst>
          </p:cNvPr>
          <p:cNvSpPr>
            <a:spLocks noGrp="1"/>
          </p:cNvSpPr>
          <p:nvPr>
            <p:ph type="sldNum" sz="quarter" idx="12"/>
          </p:nvPr>
        </p:nvSpPr>
        <p:spPr/>
        <p:txBody>
          <a:bodyPr/>
          <a:lstStyle/>
          <a:p>
            <a:fld id="{FF2CED2D-DE01-CB40-AEF5-C9DD7CD06225}" type="slidenum">
              <a:rPr lang="es-ES" smtClean="0"/>
              <a:t>13</a:t>
            </a:fld>
            <a:endParaRPr lang="es-ES"/>
          </a:p>
        </p:txBody>
      </p:sp>
      <p:sp>
        <p:nvSpPr>
          <p:cNvPr id="5" name="Marcador de texto 4">
            <a:extLst>
              <a:ext uri="{FF2B5EF4-FFF2-40B4-BE49-F238E27FC236}">
                <a16:creationId xmlns:a16="http://schemas.microsoft.com/office/drawing/2014/main" id="{8EA4FCE1-51CF-BD44-87AC-14D8ADD4A467}"/>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E764AE25-0C71-C1A3-80A0-EF4F810B6C8A}"/>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1C0D7742-E6E5-5038-7470-3CF5C4D7D601}"/>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3133186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C41B943-6C3B-2995-4C4F-7C6E1A7CFB91}"/>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E633B4B7-8CC0-F146-B1AE-2C8A6E811783}"/>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A0919DE7-A442-5E5B-1215-CA12D7039085}"/>
              </a:ext>
            </a:extLst>
          </p:cNvPr>
          <p:cNvSpPr>
            <a:spLocks noGrp="1"/>
          </p:cNvSpPr>
          <p:nvPr>
            <p:ph type="sldNum" sz="quarter" idx="12"/>
          </p:nvPr>
        </p:nvSpPr>
        <p:spPr/>
        <p:txBody>
          <a:bodyPr/>
          <a:lstStyle/>
          <a:p>
            <a:fld id="{FF2CED2D-DE01-CB40-AEF5-C9DD7CD06225}" type="slidenum">
              <a:rPr lang="es-ES" smtClean="0"/>
              <a:t>14</a:t>
            </a:fld>
            <a:endParaRPr lang="es-ES"/>
          </a:p>
        </p:txBody>
      </p:sp>
      <p:sp>
        <p:nvSpPr>
          <p:cNvPr id="5" name="Marcador de texto 4">
            <a:extLst>
              <a:ext uri="{FF2B5EF4-FFF2-40B4-BE49-F238E27FC236}">
                <a16:creationId xmlns:a16="http://schemas.microsoft.com/office/drawing/2014/main" id="{BE7EE137-323C-5A53-D1B1-FFC78D64399F}"/>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1F496BBD-87E3-073C-EE08-58D0638AAE24}"/>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A5A289B5-9E0D-4517-49ED-71D99D386E80}"/>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3825340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0619ABA-B730-D304-6DDC-9810E9CBD850}"/>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EBC7F162-8B66-37C3-33D9-267534D01E6B}"/>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27DBD206-3ED0-6FBA-D60B-80F2AD6DF9A3}"/>
              </a:ext>
            </a:extLst>
          </p:cNvPr>
          <p:cNvSpPr>
            <a:spLocks noGrp="1"/>
          </p:cNvSpPr>
          <p:nvPr>
            <p:ph type="sldNum" sz="quarter" idx="12"/>
          </p:nvPr>
        </p:nvSpPr>
        <p:spPr/>
        <p:txBody>
          <a:bodyPr/>
          <a:lstStyle/>
          <a:p>
            <a:fld id="{FF2CED2D-DE01-CB40-AEF5-C9DD7CD06225}" type="slidenum">
              <a:rPr lang="es-ES" smtClean="0"/>
              <a:t>15</a:t>
            </a:fld>
            <a:endParaRPr lang="es-ES"/>
          </a:p>
        </p:txBody>
      </p:sp>
      <p:sp>
        <p:nvSpPr>
          <p:cNvPr id="5" name="Marcador de texto 4">
            <a:extLst>
              <a:ext uri="{FF2B5EF4-FFF2-40B4-BE49-F238E27FC236}">
                <a16:creationId xmlns:a16="http://schemas.microsoft.com/office/drawing/2014/main" id="{9B5BBD04-6FAB-AF09-72DB-B5FE165EB47C}"/>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3D12A3C8-A3FC-DA15-3C56-74428C9584B4}"/>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BF62D3E6-EB9B-02CC-CAC3-DDCC46F169F3}"/>
              </a:ext>
            </a:extLst>
          </p:cNvPr>
          <p:cNvSpPr>
            <a:spLocks noGrp="1"/>
          </p:cNvSpPr>
          <p:nvPr>
            <p:ph type="body" sz="quarter" idx="28"/>
          </p:nvPr>
        </p:nvSpPr>
        <p:spPr/>
        <p:txBody>
          <a:bodyPr/>
          <a:lstStyle/>
          <a:p>
            <a:endParaRPr lang="en-GB"/>
          </a:p>
        </p:txBody>
      </p:sp>
    </p:spTree>
    <p:extLst>
      <p:ext uri="{BB962C8B-B14F-4D97-AF65-F5344CB8AC3E}">
        <p14:creationId xmlns:p14="http://schemas.microsoft.com/office/powerpoint/2010/main" val="1489350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B381E165-EEEE-1024-D75E-DF1D46E06DF3}"/>
              </a:ext>
            </a:extLst>
          </p:cNvPr>
          <p:cNvSpPr>
            <a:spLocks noGrp="1"/>
          </p:cNvSpPr>
          <p:nvPr>
            <p:ph type="body" sz="quarter" idx="4294967295"/>
          </p:nvPr>
        </p:nvSpPr>
        <p:spPr>
          <a:xfrm>
            <a:off x="555625" y="1733550"/>
            <a:ext cx="4038600" cy="4316413"/>
          </a:xfrm>
          <a:prstGeom prst="rect">
            <a:avLst/>
          </a:prstGeom>
        </p:spPr>
        <p:txBody>
          <a:bodyPr/>
          <a:lstStyle/>
          <a:p>
            <a:endParaRPr lang="en-GB"/>
          </a:p>
        </p:txBody>
      </p:sp>
      <p:sp>
        <p:nvSpPr>
          <p:cNvPr id="3" name="Marcador de pie de página 2">
            <a:extLst>
              <a:ext uri="{FF2B5EF4-FFF2-40B4-BE49-F238E27FC236}">
                <a16:creationId xmlns:a16="http://schemas.microsoft.com/office/drawing/2014/main" id="{789F87CF-052E-1D2F-93DB-D4556DF35798}"/>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9ACEFEF8-5C18-9DAD-DD3F-DB3E91BE9771}"/>
              </a:ext>
            </a:extLst>
          </p:cNvPr>
          <p:cNvSpPr>
            <a:spLocks noGrp="1"/>
          </p:cNvSpPr>
          <p:nvPr>
            <p:ph type="sldNum" sz="quarter" idx="12"/>
          </p:nvPr>
        </p:nvSpPr>
        <p:spPr/>
        <p:txBody>
          <a:bodyPr/>
          <a:lstStyle/>
          <a:p>
            <a:fld id="{FF2CED2D-DE01-CB40-AEF5-C9DD7CD06225}" type="slidenum">
              <a:rPr lang="es-ES" smtClean="0"/>
              <a:pPr/>
              <a:t>16</a:t>
            </a:fld>
            <a:endParaRPr lang="es-ES"/>
          </a:p>
        </p:txBody>
      </p:sp>
      <p:sp>
        <p:nvSpPr>
          <p:cNvPr id="5" name="Marcador de texto 4">
            <a:extLst>
              <a:ext uri="{FF2B5EF4-FFF2-40B4-BE49-F238E27FC236}">
                <a16:creationId xmlns:a16="http://schemas.microsoft.com/office/drawing/2014/main" id="{5DD03A62-D357-ECF1-66D7-CC6C39CA6715}"/>
              </a:ext>
            </a:extLst>
          </p:cNvPr>
          <p:cNvSpPr>
            <a:spLocks noGrp="1"/>
          </p:cNvSpPr>
          <p:nvPr>
            <p:ph type="body" sz="quarter" idx="17"/>
          </p:nvPr>
        </p:nvSpPr>
        <p:spPr/>
        <p:txBody>
          <a:bodyPr/>
          <a:lstStyle/>
          <a:p>
            <a:endParaRPr lang="en-GB"/>
          </a:p>
        </p:txBody>
      </p:sp>
      <p:sp>
        <p:nvSpPr>
          <p:cNvPr id="6" name="Marcador de texto 5">
            <a:extLst>
              <a:ext uri="{FF2B5EF4-FFF2-40B4-BE49-F238E27FC236}">
                <a16:creationId xmlns:a16="http://schemas.microsoft.com/office/drawing/2014/main" id="{3F39A891-9730-F2E9-4F63-A5FE5248DDD8}"/>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2367105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67B311F1-E336-7722-C3DF-43D68D88C104}"/>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809AE52F-5097-BE96-6C48-6C796F0A7A52}"/>
              </a:ext>
            </a:extLst>
          </p:cNvPr>
          <p:cNvSpPr>
            <a:spLocks noGrp="1"/>
          </p:cNvSpPr>
          <p:nvPr>
            <p:ph type="sldNum" sz="quarter" idx="12"/>
          </p:nvPr>
        </p:nvSpPr>
        <p:spPr/>
        <p:txBody>
          <a:bodyPr/>
          <a:lstStyle/>
          <a:p>
            <a:fld id="{FF2CED2D-DE01-CB40-AEF5-C9DD7CD06225}" type="slidenum">
              <a:rPr lang="es-ES" smtClean="0"/>
              <a:pPr/>
              <a:t>17</a:t>
            </a:fld>
            <a:endParaRPr lang="es-ES"/>
          </a:p>
        </p:txBody>
      </p:sp>
      <p:sp>
        <p:nvSpPr>
          <p:cNvPr id="7" name="Marcador de texto 6">
            <a:extLst>
              <a:ext uri="{FF2B5EF4-FFF2-40B4-BE49-F238E27FC236}">
                <a16:creationId xmlns:a16="http://schemas.microsoft.com/office/drawing/2014/main" id="{789CCCA9-4837-4DF8-4CAA-88168AC38C26}"/>
              </a:ext>
            </a:extLst>
          </p:cNvPr>
          <p:cNvSpPr>
            <a:spLocks noGrp="1"/>
          </p:cNvSpPr>
          <p:nvPr>
            <p:ph type="body" sz="quarter" idx="14"/>
          </p:nvPr>
        </p:nvSpPr>
        <p:spPr/>
        <p:txBody>
          <a:bodyPr/>
          <a:lstStyle/>
          <a:p>
            <a:endParaRPr lang="en-GB"/>
          </a:p>
        </p:txBody>
      </p:sp>
      <p:sp>
        <p:nvSpPr>
          <p:cNvPr id="8" name="Marcador de texto 7">
            <a:extLst>
              <a:ext uri="{FF2B5EF4-FFF2-40B4-BE49-F238E27FC236}">
                <a16:creationId xmlns:a16="http://schemas.microsoft.com/office/drawing/2014/main" id="{384517CE-5320-46FB-B3D3-0F596D8F0F6A}"/>
              </a:ext>
            </a:extLst>
          </p:cNvPr>
          <p:cNvSpPr>
            <a:spLocks noGrp="1"/>
          </p:cNvSpPr>
          <p:nvPr>
            <p:ph type="body" sz="quarter" idx="17"/>
          </p:nvPr>
        </p:nvSpPr>
        <p:spPr/>
        <p:txBody>
          <a:bodyPr/>
          <a:lstStyle/>
          <a:p>
            <a:endParaRPr lang="en-GB"/>
          </a:p>
        </p:txBody>
      </p:sp>
      <p:sp>
        <p:nvSpPr>
          <p:cNvPr id="9" name="Marcador de texto 8">
            <a:extLst>
              <a:ext uri="{FF2B5EF4-FFF2-40B4-BE49-F238E27FC236}">
                <a16:creationId xmlns:a16="http://schemas.microsoft.com/office/drawing/2014/main" id="{CEA45883-1396-903B-7BBC-EB47F8E89BD9}"/>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2532126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01607DC9-872D-863F-5979-7999870CB732}"/>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8998F9EA-BC45-7626-A113-5CA86996C577}"/>
              </a:ext>
            </a:extLst>
          </p:cNvPr>
          <p:cNvSpPr>
            <a:spLocks noGrp="1"/>
          </p:cNvSpPr>
          <p:nvPr>
            <p:ph type="sldNum" sz="quarter" idx="12"/>
          </p:nvPr>
        </p:nvSpPr>
        <p:spPr/>
        <p:txBody>
          <a:bodyPr/>
          <a:lstStyle/>
          <a:p>
            <a:fld id="{FF2CED2D-DE01-CB40-AEF5-C9DD7CD06225}" type="slidenum">
              <a:rPr lang="es-ES" smtClean="0"/>
              <a:pPr/>
              <a:t>18</a:t>
            </a:fld>
            <a:endParaRPr lang="es-ES"/>
          </a:p>
        </p:txBody>
      </p:sp>
      <p:sp>
        <p:nvSpPr>
          <p:cNvPr id="7" name="Marcador de texto 6">
            <a:extLst>
              <a:ext uri="{FF2B5EF4-FFF2-40B4-BE49-F238E27FC236}">
                <a16:creationId xmlns:a16="http://schemas.microsoft.com/office/drawing/2014/main" id="{4EDC3379-B633-B9D8-1DC3-F149A247D00E}"/>
              </a:ext>
            </a:extLst>
          </p:cNvPr>
          <p:cNvSpPr>
            <a:spLocks noGrp="1"/>
          </p:cNvSpPr>
          <p:nvPr>
            <p:ph type="body" sz="quarter" idx="14"/>
          </p:nvPr>
        </p:nvSpPr>
        <p:spPr/>
        <p:txBody>
          <a:bodyPr/>
          <a:lstStyle/>
          <a:p>
            <a:endParaRPr lang="en-GB"/>
          </a:p>
        </p:txBody>
      </p:sp>
      <p:sp>
        <p:nvSpPr>
          <p:cNvPr id="8" name="Marcador de texto 7">
            <a:extLst>
              <a:ext uri="{FF2B5EF4-FFF2-40B4-BE49-F238E27FC236}">
                <a16:creationId xmlns:a16="http://schemas.microsoft.com/office/drawing/2014/main" id="{B23235A5-7B40-37B8-1F16-95EFCA172700}"/>
              </a:ext>
            </a:extLst>
          </p:cNvPr>
          <p:cNvSpPr>
            <a:spLocks noGrp="1"/>
          </p:cNvSpPr>
          <p:nvPr>
            <p:ph type="body" sz="quarter" idx="17"/>
          </p:nvPr>
        </p:nvSpPr>
        <p:spPr/>
        <p:txBody>
          <a:bodyPr/>
          <a:lstStyle/>
          <a:p>
            <a:endParaRPr lang="en-GB"/>
          </a:p>
        </p:txBody>
      </p:sp>
      <p:sp>
        <p:nvSpPr>
          <p:cNvPr id="9" name="Marcador de texto 8">
            <a:extLst>
              <a:ext uri="{FF2B5EF4-FFF2-40B4-BE49-F238E27FC236}">
                <a16:creationId xmlns:a16="http://schemas.microsoft.com/office/drawing/2014/main" id="{E61B39E6-E76D-7FF7-C4C5-71D0ED1BDB47}"/>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1910636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71B50AAC-A25B-FEFC-AB55-5AD1E98089F0}"/>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119BEA37-DD57-444A-560C-10EE1A4D160E}"/>
              </a:ext>
            </a:extLst>
          </p:cNvPr>
          <p:cNvSpPr>
            <a:spLocks noGrp="1"/>
          </p:cNvSpPr>
          <p:nvPr>
            <p:ph type="sldNum" sz="quarter" idx="12"/>
          </p:nvPr>
        </p:nvSpPr>
        <p:spPr/>
        <p:txBody>
          <a:bodyPr/>
          <a:lstStyle/>
          <a:p>
            <a:fld id="{FF2CED2D-DE01-CB40-AEF5-C9DD7CD06225}" type="slidenum">
              <a:rPr lang="es-ES" smtClean="0"/>
              <a:pPr/>
              <a:t>19</a:t>
            </a:fld>
            <a:endParaRPr lang="es-ES"/>
          </a:p>
        </p:txBody>
      </p:sp>
      <p:sp>
        <p:nvSpPr>
          <p:cNvPr id="11" name="Marcador de texto 10">
            <a:extLst>
              <a:ext uri="{FF2B5EF4-FFF2-40B4-BE49-F238E27FC236}">
                <a16:creationId xmlns:a16="http://schemas.microsoft.com/office/drawing/2014/main" id="{81FEBA26-F534-A745-CF3E-31E377BFCE8A}"/>
              </a:ext>
            </a:extLst>
          </p:cNvPr>
          <p:cNvSpPr>
            <a:spLocks noGrp="1"/>
          </p:cNvSpPr>
          <p:nvPr>
            <p:ph type="body" sz="quarter" idx="17"/>
          </p:nvPr>
        </p:nvSpPr>
        <p:spPr/>
        <p:txBody>
          <a:bodyPr/>
          <a:lstStyle/>
          <a:p>
            <a:endParaRPr lang="en-GB"/>
          </a:p>
        </p:txBody>
      </p:sp>
      <p:sp>
        <p:nvSpPr>
          <p:cNvPr id="14" name="Marcador de texto 13">
            <a:extLst>
              <a:ext uri="{FF2B5EF4-FFF2-40B4-BE49-F238E27FC236}">
                <a16:creationId xmlns:a16="http://schemas.microsoft.com/office/drawing/2014/main" id="{DB61CEDD-A48C-D3F6-A82F-3D95390420F6}"/>
              </a:ext>
            </a:extLst>
          </p:cNvPr>
          <p:cNvSpPr>
            <a:spLocks noGrp="1"/>
          </p:cNvSpPr>
          <p:nvPr>
            <p:ph type="body" sz="quarter" idx="28"/>
          </p:nvPr>
        </p:nvSpPr>
        <p:spPr/>
        <p:txBody>
          <a:bodyPr/>
          <a:lstStyle/>
          <a:p>
            <a:endParaRPr lang="en-GB"/>
          </a:p>
        </p:txBody>
      </p:sp>
      <p:sp>
        <p:nvSpPr>
          <p:cNvPr id="13" name="Marcador de texto 12">
            <a:extLst>
              <a:ext uri="{FF2B5EF4-FFF2-40B4-BE49-F238E27FC236}">
                <a16:creationId xmlns:a16="http://schemas.microsoft.com/office/drawing/2014/main" id="{EEAECA6A-D7FF-7C6B-0977-7FF8791FC735}"/>
              </a:ext>
            </a:extLst>
          </p:cNvPr>
          <p:cNvSpPr>
            <a:spLocks noGrp="1"/>
          </p:cNvSpPr>
          <p:nvPr>
            <p:ph type="body" sz="quarter" idx="27"/>
          </p:nvPr>
        </p:nvSpPr>
        <p:spPr/>
        <p:txBody>
          <a:bodyPr/>
          <a:lstStyle/>
          <a:p>
            <a:endParaRPr lang="en-GB"/>
          </a:p>
        </p:txBody>
      </p:sp>
      <p:sp>
        <p:nvSpPr>
          <p:cNvPr id="12" name="Marcador de texto 11">
            <a:extLst>
              <a:ext uri="{FF2B5EF4-FFF2-40B4-BE49-F238E27FC236}">
                <a16:creationId xmlns:a16="http://schemas.microsoft.com/office/drawing/2014/main" id="{EE273DA9-CE95-3EAC-3227-BA7CE035B144}"/>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667259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arcador de texto 27">
            <a:extLst>
              <a:ext uri="{FF2B5EF4-FFF2-40B4-BE49-F238E27FC236}">
                <a16:creationId xmlns:a16="http://schemas.microsoft.com/office/drawing/2014/main" id="{864B2F77-1836-09D5-029A-54461D35821F}"/>
              </a:ext>
            </a:extLst>
          </p:cNvPr>
          <p:cNvSpPr>
            <a:spLocks noGrp="1"/>
          </p:cNvSpPr>
          <p:nvPr>
            <p:ph type="body" sz="quarter" idx="19"/>
          </p:nvPr>
        </p:nvSpPr>
        <p:spPr/>
        <p:txBody>
          <a:bodyPr/>
          <a:lstStyle/>
          <a:p>
            <a:r>
              <a:rPr lang="en-GB" dirty="0" smtClean="0"/>
              <a:t>INTRODUCCIÓN</a:t>
            </a:r>
            <a:endParaRPr lang="en-GB" dirty="0"/>
          </a:p>
        </p:txBody>
      </p:sp>
      <p:sp>
        <p:nvSpPr>
          <p:cNvPr id="29" name="Marcador de texto 28">
            <a:extLst>
              <a:ext uri="{FF2B5EF4-FFF2-40B4-BE49-F238E27FC236}">
                <a16:creationId xmlns:a16="http://schemas.microsoft.com/office/drawing/2014/main" id="{2103D022-180C-4134-8743-C9D7A6B6B65A}"/>
              </a:ext>
            </a:extLst>
          </p:cNvPr>
          <p:cNvSpPr>
            <a:spLocks noGrp="1"/>
          </p:cNvSpPr>
          <p:nvPr>
            <p:ph type="body" sz="quarter" idx="22"/>
          </p:nvPr>
        </p:nvSpPr>
        <p:spPr/>
        <p:txBody>
          <a:bodyPr/>
          <a:lstStyle/>
          <a:p>
            <a:r>
              <a:rPr lang="en-GB" dirty="0" smtClean="0"/>
              <a:t>Breve </a:t>
            </a:r>
            <a:r>
              <a:rPr lang="en-GB" dirty="0" err="1" smtClean="0"/>
              <a:t>descripción</a:t>
            </a:r>
            <a:r>
              <a:rPr lang="en-GB" dirty="0" smtClean="0"/>
              <a:t> del </a:t>
            </a:r>
            <a:r>
              <a:rPr lang="en-GB" dirty="0" err="1" smtClean="0"/>
              <a:t>estado</a:t>
            </a:r>
            <a:r>
              <a:rPr lang="en-GB" dirty="0" smtClean="0"/>
              <a:t> de </a:t>
            </a:r>
            <a:r>
              <a:rPr lang="en-GB" dirty="0" err="1" smtClean="0"/>
              <a:t>partida</a:t>
            </a:r>
            <a:r>
              <a:rPr lang="en-GB" dirty="0" smtClean="0"/>
              <a:t>.</a:t>
            </a:r>
            <a:endParaRPr lang="en-GB" dirty="0"/>
          </a:p>
        </p:txBody>
      </p:sp>
      <p:sp>
        <p:nvSpPr>
          <p:cNvPr id="10" name="Marcador de pie de página 9"/>
          <p:cNvSpPr>
            <a:spLocks noGrp="1"/>
          </p:cNvSpPr>
          <p:nvPr>
            <p:ph type="ftr" sz="quarter" idx="11"/>
          </p:nvPr>
        </p:nvSpPr>
        <p:spPr/>
        <p:txBody>
          <a:bodyPr/>
          <a:lstStyle/>
          <a:p>
            <a:r>
              <a:rPr lang="es-ES"/>
              <a:t>Proprietary Information - Confidential</a:t>
            </a:r>
          </a:p>
        </p:txBody>
      </p:sp>
      <p:sp>
        <p:nvSpPr>
          <p:cNvPr id="11" name="Marcador de número de diapositiva 10"/>
          <p:cNvSpPr>
            <a:spLocks noGrp="1"/>
          </p:cNvSpPr>
          <p:nvPr>
            <p:ph type="sldNum" sz="quarter" idx="12"/>
          </p:nvPr>
        </p:nvSpPr>
        <p:spPr/>
        <p:txBody>
          <a:bodyPr/>
          <a:lstStyle/>
          <a:p>
            <a:fld id="{FF2CED2D-DE01-CB40-AEF5-C9DD7CD06225}" type="slidenum">
              <a:rPr lang="es-ES" smtClean="0"/>
              <a:t>2</a:t>
            </a:fld>
            <a:endParaRPr lang="es-ES"/>
          </a:p>
        </p:txBody>
      </p:sp>
      <p:sp>
        <p:nvSpPr>
          <p:cNvPr id="30" name="Marcador de texto 29">
            <a:extLst>
              <a:ext uri="{FF2B5EF4-FFF2-40B4-BE49-F238E27FC236}">
                <a16:creationId xmlns:a16="http://schemas.microsoft.com/office/drawing/2014/main" id="{80C452F7-1E0E-50FD-B334-45FAF6CB5C7E}"/>
              </a:ext>
            </a:extLst>
          </p:cNvPr>
          <p:cNvSpPr>
            <a:spLocks noGrp="1"/>
          </p:cNvSpPr>
          <p:nvPr>
            <p:ph type="body" sz="quarter" idx="31"/>
          </p:nvPr>
        </p:nvSpPr>
        <p:spPr/>
        <p:txBody>
          <a:bodyPr/>
          <a:lstStyle/>
          <a:p>
            <a:r>
              <a:rPr lang="en-GB" dirty="0" smtClean="0"/>
              <a:t>DIFICULTADES</a:t>
            </a:r>
            <a:endParaRPr lang="en-GB" dirty="0"/>
          </a:p>
        </p:txBody>
      </p:sp>
      <p:sp>
        <p:nvSpPr>
          <p:cNvPr id="31" name="Marcador de texto 30">
            <a:extLst>
              <a:ext uri="{FF2B5EF4-FFF2-40B4-BE49-F238E27FC236}">
                <a16:creationId xmlns:a16="http://schemas.microsoft.com/office/drawing/2014/main" id="{225B365F-D18F-C4DB-EBC1-87E64F7679F7}"/>
              </a:ext>
            </a:extLst>
          </p:cNvPr>
          <p:cNvSpPr>
            <a:spLocks noGrp="1"/>
          </p:cNvSpPr>
          <p:nvPr>
            <p:ph type="body" sz="quarter" idx="32"/>
          </p:nvPr>
        </p:nvSpPr>
        <p:spPr>
          <a:xfrm>
            <a:off x="8561441" y="1943631"/>
            <a:ext cx="3253402" cy="836016"/>
          </a:xfrm>
        </p:spPr>
        <p:txBody>
          <a:bodyPr/>
          <a:lstStyle/>
          <a:p>
            <a:r>
              <a:rPr lang="en-GB" dirty="0" smtClean="0"/>
              <a:t>SOLUCIONES IMPLEMENTADAS</a:t>
            </a:r>
            <a:endParaRPr lang="en-GB" dirty="0"/>
          </a:p>
        </p:txBody>
      </p:sp>
      <p:sp>
        <p:nvSpPr>
          <p:cNvPr id="32" name="Marcador de texto 31">
            <a:extLst>
              <a:ext uri="{FF2B5EF4-FFF2-40B4-BE49-F238E27FC236}">
                <a16:creationId xmlns:a16="http://schemas.microsoft.com/office/drawing/2014/main" id="{42DF1964-715A-FAAE-FE13-DE0B6473E5E1}"/>
              </a:ext>
            </a:extLst>
          </p:cNvPr>
          <p:cNvSpPr>
            <a:spLocks noGrp="1"/>
          </p:cNvSpPr>
          <p:nvPr>
            <p:ph type="body" sz="quarter" idx="33"/>
          </p:nvPr>
        </p:nvSpPr>
        <p:spPr/>
        <p:txBody>
          <a:bodyPr/>
          <a:lstStyle/>
          <a:p>
            <a:r>
              <a:rPr lang="en-GB" dirty="0" smtClean="0"/>
              <a:t>MODELOS </a:t>
            </a:r>
            <a:endParaRPr lang="en-GB" dirty="0"/>
          </a:p>
        </p:txBody>
      </p:sp>
      <p:sp>
        <p:nvSpPr>
          <p:cNvPr id="33" name="Marcador de texto 32">
            <a:extLst>
              <a:ext uri="{FF2B5EF4-FFF2-40B4-BE49-F238E27FC236}">
                <a16:creationId xmlns:a16="http://schemas.microsoft.com/office/drawing/2014/main" id="{0380C52B-6875-AA49-B77B-5499BE4D4297}"/>
              </a:ext>
            </a:extLst>
          </p:cNvPr>
          <p:cNvSpPr>
            <a:spLocks noGrp="1"/>
          </p:cNvSpPr>
          <p:nvPr>
            <p:ph type="body" sz="quarter" idx="34"/>
          </p:nvPr>
        </p:nvSpPr>
        <p:spPr>
          <a:xfrm>
            <a:off x="5733830" y="4324944"/>
            <a:ext cx="3391793" cy="501650"/>
          </a:xfrm>
        </p:spPr>
        <p:txBody>
          <a:bodyPr/>
          <a:lstStyle/>
          <a:p>
            <a:r>
              <a:rPr lang="en-GB" dirty="0" smtClean="0"/>
              <a:t>FUTURAS MEJORAS</a:t>
            </a:r>
            <a:endParaRPr lang="en-GB" dirty="0"/>
          </a:p>
        </p:txBody>
      </p:sp>
      <p:sp>
        <p:nvSpPr>
          <p:cNvPr id="35" name="Marcador de texto 34">
            <a:extLst>
              <a:ext uri="{FF2B5EF4-FFF2-40B4-BE49-F238E27FC236}">
                <a16:creationId xmlns:a16="http://schemas.microsoft.com/office/drawing/2014/main" id="{6EA98916-F008-E6A1-68BE-02FBF9B3BC6C}"/>
              </a:ext>
            </a:extLst>
          </p:cNvPr>
          <p:cNvSpPr>
            <a:spLocks noGrp="1"/>
          </p:cNvSpPr>
          <p:nvPr>
            <p:ph type="body" sz="quarter" idx="36"/>
          </p:nvPr>
        </p:nvSpPr>
        <p:spPr/>
        <p:txBody>
          <a:bodyPr/>
          <a:lstStyle/>
          <a:p>
            <a:r>
              <a:rPr lang="en-GB" dirty="0" err="1" smtClean="0"/>
              <a:t>En</a:t>
            </a:r>
            <a:r>
              <a:rPr lang="en-GB" dirty="0" smtClean="0"/>
              <a:t> </a:t>
            </a:r>
            <a:r>
              <a:rPr lang="en-GB" dirty="0" err="1" smtClean="0"/>
              <a:t>este</a:t>
            </a:r>
            <a:r>
              <a:rPr lang="en-GB" dirty="0" smtClean="0"/>
              <a:t> </a:t>
            </a:r>
            <a:r>
              <a:rPr lang="en-GB" dirty="0" err="1" smtClean="0"/>
              <a:t>punto</a:t>
            </a:r>
            <a:r>
              <a:rPr lang="en-GB" dirty="0" smtClean="0"/>
              <a:t> se </a:t>
            </a:r>
            <a:r>
              <a:rPr lang="en-GB" dirty="0" err="1" smtClean="0"/>
              <a:t>plantean</a:t>
            </a:r>
            <a:r>
              <a:rPr lang="en-GB" dirty="0" smtClean="0"/>
              <a:t> </a:t>
            </a:r>
            <a:r>
              <a:rPr lang="en-GB" dirty="0" err="1" smtClean="0"/>
              <a:t>los</a:t>
            </a:r>
            <a:r>
              <a:rPr lang="en-GB" dirty="0" smtClean="0"/>
              <a:t> </a:t>
            </a:r>
            <a:r>
              <a:rPr lang="en-GB" dirty="0" err="1" smtClean="0"/>
              <a:t>desafios</a:t>
            </a:r>
            <a:r>
              <a:rPr lang="en-GB" dirty="0" smtClean="0"/>
              <a:t> </a:t>
            </a:r>
            <a:r>
              <a:rPr lang="en-GB" dirty="0" err="1" smtClean="0"/>
              <a:t>en</a:t>
            </a:r>
            <a:r>
              <a:rPr lang="en-GB" dirty="0" smtClean="0"/>
              <a:t> </a:t>
            </a:r>
            <a:r>
              <a:rPr lang="en-GB" dirty="0" err="1" smtClean="0"/>
              <a:t>los</a:t>
            </a:r>
            <a:r>
              <a:rPr lang="en-GB" dirty="0" smtClean="0"/>
              <a:t> que se </a:t>
            </a:r>
            <a:r>
              <a:rPr lang="en-GB" dirty="0" err="1" smtClean="0"/>
              <a:t>desarrolla</a:t>
            </a:r>
            <a:r>
              <a:rPr lang="en-GB" dirty="0" smtClean="0"/>
              <a:t> el </a:t>
            </a:r>
            <a:r>
              <a:rPr lang="en-GB" dirty="0" err="1" smtClean="0"/>
              <a:t>trabajo</a:t>
            </a:r>
            <a:r>
              <a:rPr lang="en-GB" dirty="0" smtClean="0"/>
              <a:t>.</a:t>
            </a:r>
            <a:endParaRPr lang="en-GB" dirty="0"/>
          </a:p>
        </p:txBody>
      </p:sp>
      <p:sp>
        <p:nvSpPr>
          <p:cNvPr id="36" name="Marcador de texto 35">
            <a:extLst>
              <a:ext uri="{FF2B5EF4-FFF2-40B4-BE49-F238E27FC236}">
                <a16:creationId xmlns:a16="http://schemas.microsoft.com/office/drawing/2014/main" id="{8C331A37-BBE8-4224-1477-9A9303E84702}"/>
              </a:ext>
            </a:extLst>
          </p:cNvPr>
          <p:cNvSpPr>
            <a:spLocks noGrp="1"/>
          </p:cNvSpPr>
          <p:nvPr>
            <p:ph type="body" sz="quarter" idx="37"/>
          </p:nvPr>
        </p:nvSpPr>
        <p:spPr>
          <a:xfrm>
            <a:off x="8561441" y="2829897"/>
            <a:ext cx="2530088" cy="683880"/>
          </a:xfrm>
        </p:spPr>
        <p:txBody>
          <a:bodyPr/>
          <a:lstStyle/>
          <a:p>
            <a:r>
              <a:rPr lang="en-GB" dirty="0" err="1" smtClean="0"/>
              <a:t>Detalles</a:t>
            </a:r>
            <a:r>
              <a:rPr lang="en-GB" dirty="0" smtClean="0"/>
              <a:t> del </a:t>
            </a:r>
            <a:r>
              <a:rPr lang="en-GB" dirty="0" err="1" smtClean="0"/>
              <a:t>progreso</a:t>
            </a:r>
            <a:r>
              <a:rPr lang="en-GB" dirty="0" smtClean="0"/>
              <a:t> </a:t>
            </a:r>
            <a:r>
              <a:rPr lang="en-GB" dirty="0" err="1" smtClean="0"/>
              <a:t>realziado</a:t>
            </a:r>
            <a:r>
              <a:rPr lang="en-GB" dirty="0" smtClean="0"/>
              <a:t> hasta </a:t>
            </a:r>
            <a:r>
              <a:rPr lang="en-GB" dirty="0" err="1" smtClean="0"/>
              <a:t>ahora</a:t>
            </a:r>
            <a:r>
              <a:rPr lang="en-GB" dirty="0" smtClean="0"/>
              <a:t>.</a:t>
            </a:r>
            <a:endParaRPr lang="en-GB" dirty="0"/>
          </a:p>
        </p:txBody>
      </p:sp>
      <p:sp>
        <p:nvSpPr>
          <p:cNvPr id="37" name="Marcador de texto 36">
            <a:extLst>
              <a:ext uri="{FF2B5EF4-FFF2-40B4-BE49-F238E27FC236}">
                <a16:creationId xmlns:a16="http://schemas.microsoft.com/office/drawing/2014/main" id="{334D3C6A-1F4C-BF3D-2849-D7B5C61D1D75}"/>
              </a:ext>
            </a:extLst>
          </p:cNvPr>
          <p:cNvSpPr>
            <a:spLocks noGrp="1"/>
          </p:cNvSpPr>
          <p:nvPr>
            <p:ph type="body" sz="quarter" idx="38"/>
          </p:nvPr>
        </p:nvSpPr>
        <p:spPr/>
        <p:txBody>
          <a:bodyPr/>
          <a:lstStyle/>
          <a:p>
            <a:r>
              <a:rPr lang="en-GB" dirty="0" err="1" smtClean="0"/>
              <a:t>Descripción</a:t>
            </a:r>
            <a:r>
              <a:rPr lang="en-GB" dirty="0" smtClean="0"/>
              <a:t> de </a:t>
            </a:r>
            <a:r>
              <a:rPr lang="en-GB" dirty="0" err="1" smtClean="0"/>
              <a:t>los</a:t>
            </a:r>
            <a:r>
              <a:rPr lang="en-GB" dirty="0" smtClean="0"/>
              <a:t> </a:t>
            </a:r>
            <a:r>
              <a:rPr lang="en-GB" dirty="0" err="1" smtClean="0"/>
              <a:t>modelos</a:t>
            </a:r>
            <a:r>
              <a:rPr lang="en-GB" dirty="0" smtClean="0"/>
              <a:t> </a:t>
            </a:r>
            <a:r>
              <a:rPr lang="en-GB" dirty="0" err="1" smtClean="0"/>
              <a:t>seleccionados</a:t>
            </a:r>
            <a:r>
              <a:rPr lang="en-GB" dirty="0" smtClean="0"/>
              <a:t>.</a:t>
            </a:r>
            <a:endParaRPr lang="en-GB" dirty="0"/>
          </a:p>
        </p:txBody>
      </p:sp>
      <p:sp>
        <p:nvSpPr>
          <p:cNvPr id="38" name="Marcador de texto 37">
            <a:extLst>
              <a:ext uri="{FF2B5EF4-FFF2-40B4-BE49-F238E27FC236}">
                <a16:creationId xmlns:a16="http://schemas.microsoft.com/office/drawing/2014/main" id="{4B2F2937-1AC2-00E3-27D8-E0F08DBCD6A4}"/>
              </a:ext>
            </a:extLst>
          </p:cNvPr>
          <p:cNvSpPr>
            <a:spLocks noGrp="1"/>
          </p:cNvSpPr>
          <p:nvPr>
            <p:ph type="body" sz="quarter" idx="39"/>
          </p:nvPr>
        </p:nvSpPr>
        <p:spPr/>
        <p:txBody>
          <a:bodyPr/>
          <a:lstStyle/>
          <a:p>
            <a:r>
              <a:rPr lang="en-GB" dirty="0" err="1" smtClean="0"/>
              <a:t>Consideracones</a:t>
            </a:r>
            <a:r>
              <a:rPr lang="en-GB" dirty="0" smtClean="0"/>
              <a:t> a </a:t>
            </a:r>
            <a:r>
              <a:rPr lang="en-GB" dirty="0" err="1" smtClean="0"/>
              <a:t>tener</a:t>
            </a:r>
            <a:r>
              <a:rPr lang="en-GB" dirty="0" smtClean="0"/>
              <a:t> </a:t>
            </a:r>
            <a:r>
              <a:rPr lang="en-GB" dirty="0" err="1" smtClean="0"/>
              <a:t>en</a:t>
            </a:r>
            <a:r>
              <a:rPr lang="en-GB" dirty="0" smtClean="0"/>
              <a:t> </a:t>
            </a:r>
            <a:r>
              <a:rPr lang="en-GB" dirty="0" err="1" smtClean="0"/>
              <a:t>cuenta</a:t>
            </a:r>
            <a:r>
              <a:rPr lang="en-GB" dirty="0" smtClean="0"/>
              <a:t> y </a:t>
            </a:r>
            <a:r>
              <a:rPr lang="en-GB" dirty="0" err="1" smtClean="0"/>
              <a:t>linea</a:t>
            </a:r>
            <a:r>
              <a:rPr lang="en-GB" dirty="0" smtClean="0"/>
              <a:t> de </a:t>
            </a:r>
            <a:r>
              <a:rPr lang="en-GB" dirty="0" err="1" smtClean="0"/>
              <a:t>avance</a:t>
            </a:r>
            <a:r>
              <a:rPr lang="en-GB" dirty="0" smtClean="0"/>
              <a:t> del </a:t>
            </a:r>
            <a:r>
              <a:rPr lang="en-GB" dirty="0" err="1" smtClean="0"/>
              <a:t>trabajo</a:t>
            </a:r>
            <a:r>
              <a:rPr lang="en-GB" dirty="0" smtClean="0"/>
              <a:t>.</a:t>
            </a:r>
            <a:endParaRPr lang="en-GB" dirty="0"/>
          </a:p>
        </p:txBody>
      </p:sp>
      <p:sp>
        <p:nvSpPr>
          <p:cNvPr id="40" name="CuadroTexto 39">
            <a:extLst>
              <a:ext uri="{FF2B5EF4-FFF2-40B4-BE49-F238E27FC236}">
                <a16:creationId xmlns:a16="http://schemas.microsoft.com/office/drawing/2014/main" id="{97E164A5-8E6E-1001-315B-F1C863DEC9BB}"/>
              </a:ext>
            </a:extLst>
          </p:cNvPr>
          <p:cNvSpPr txBox="1"/>
          <p:nvPr/>
        </p:nvSpPr>
        <p:spPr>
          <a:xfrm>
            <a:off x="543015" y="529163"/>
            <a:ext cx="1490982" cy="646331"/>
          </a:xfrm>
          <a:prstGeom prst="rect">
            <a:avLst/>
          </a:prstGeom>
          <a:noFill/>
        </p:spPr>
        <p:txBody>
          <a:bodyPr wrap="square">
            <a:spAutoFit/>
          </a:bodyPr>
          <a:lstStyle/>
          <a:p>
            <a:r>
              <a:rPr lang="es-ES" sz="3600" b="1" i="0">
                <a:solidFill>
                  <a:srgbClr val="0042ED"/>
                </a:solidFill>
                <a:latin typeface="Arial Narrow" panose="020B0604020202020204" pitchFamily="34" charset="0"/>
              </a:rPr>
              <a:t>INDEX</a:t>
            </a:r>
          </a:p>
        </p:txBody>
      </p:sp>
      <p:sp>
        <p:nvSpPr>
          <p:cNvPr id="41" name="Marcador de texto 37">
            <a:extLst>
              <a:ext uri="{FF2B5EF4-FFF2-40B4-BE49-F238E27FC236}">
                <a16:creationId xmlns:a16="http://schemas.microsoft.com/office/drawing/2014/main" id="{BD8DED17-2F90-D6D2-137F-667B527491DC}"/>
              </a:ext>
            </a:extLst>
          </p:cNvPr>
          <p:cNvSpPr txBox="1">
            <a:spLocks/>
          </p:cNvSpPr>
          <p:nvPr/>
        </p:nvSpPr>
        <p:spPr>
          <a:xfrm>
            <a:off x="2871788" y="1499080"/>
            <a:ext cx="776249" cy="5016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1</a:t>
            </a:r>
          </a:p>
        </p:txBody>
      </p:sp>
      <p:sp>
        <p:nvSpPr>
          <p:cNvPr id="42" name="Marcador de texto 37">
            <a:extLst>
              <a:ext uri="{FF2B5EF4-FFF2-40B4-BE49-F238E27FC236}">
                <a16:creationId xmlns:a16="http://schemas.microsoft.com/office/drawing/2014/main" id="{AFCE4002-C8DE-4102-7888-368EE827430E}"/>
              </a:ext>
            </a:extLst>
          </p:cNvPr>
          <p:cNvSpPr txBox="1">
            <a:spLocks/>
          </p:cNvSpPr>
          <p:nvPr/>
        </p:nvSpPr>
        <p:spPr>
          <a:xfrm>
            <a:off x="5733830" y="1486878"/>
            <a:ext cx="768683" cy="5016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02</a:t>
            </a:r>
          </a:p>
        </p:txBody>
      </p:sp>
      <p:sp>
        <p:nvSpPr>
          <p:cNvPr id="43" name="Marcador de texto 37">
            <a:extLst>
              <a:ext uri="{FF2B5EF4-FFF2-40B4-BE49-F238E27FC236}">
                <a16:creationId xmlns:a16="http://schemas.microsoft.com/office/drawing/2014/main" id="{F93694D9-903F-FDD0-91C7-9517DCE367A7}"/>
              </a:ext>
            </a:extLst>
          </p:cNvPr>
          <p:cNvSpPr txBox="1">
            <a:spLocks/>
          </p:cNvSpPr>
          <p:nvPr/>
        </p:nvSpPr>
        <p:spPr>
          <a:xfrm>
            <a:off x="8561441" y="1536977"/>
            <a:ext cx="733962" cy="5016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rgbClr val="0042ED"/>
                </a:solidFill>
                <a:latin typeface="Arial Narrow"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03</a:t>
            </a:r>
          </a:p>
        </p:txBody>
      </p:sp>
      <p:sp>
        <p:nvSpPr>
          <p:cNvPr id="44" name="Marcador de texto 37">
            <a:extLst>
              <a:ext uri="{FF2B5EF4-FFF2-40B4-BE49-F238E27FC236}">
                <a16:creationId xmlns:a16="http://schemas.microsoft.com/office/drawing/2014/main" id="{B38C3353-7955-8A46-E3EA-C84E7D4C1303}"/>
              </a:ext>
            </a:extLst>
          </p:cNvPr>
          <p:cNvSpPr>
            <a:spLocks noGrp="1"/>
          </p:cNvSpPr>
          <p:nvPr>
            <p:ph type="body" sz="quarter" idx="4294967295" hasCustomPrompt="1"/>
          </p:nvPr>
        </p:nvSpPr>
        <p:spPr>
          <a:xfrm>
            <a:off x="2871788" y="3783426"/>
            <a:ext cx="776249"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a:t>04</a:t>
            </a:r>
          </a:p>
        </p:txBody>
      </p:sp>
      <p:sp>
        <p:nvSpPr>
          <p:cNvPr id="45" name="Marcador de texto 37">
            <a:extLst>
              <a:ext uri="{FF2B5EF4-FFF2-40B4-BE49-F238E27FC236}">
                <a16:creationId xmlns:a16="http://schemas.microsoft.com/office/drawing/2014/main" id="{A9F00150-531E-8A13-105A-7DB1E6338827}"/>
              </a:ext>
            </a:extLst>
          </p:cNvPr>
          <p:cNvSpPr>
            <a:spLocks noGrp="1"/>
          </p:cNvSpPr>
          <p:nvPr>
            <p:ph type="body" sz="quarter" idx="4294967295" hasCustomPrompt="1"/>
          </p:nvPr>
        </p:nvSpPr>
        <p:spPr>
          <a:xfrm>
            <a:off x="5733830" y="3783426"/>
            <a:ext cx="768683" cy="501650"/>
          </a:xfrm>
          <a:prstGeom prst="rect">
            <a:avLst/>
          </a:prstGeom>
        </p:spPr>
        <p:txBody>
          <a:bodyPr/>
          <a:lstStyle>
            <a:lvl1pPr marL="0" indent="0">
              <a:buNone/>
              <a:defRPr sz="3600" b="1" i="0">
                <a:solidFill>
                  <a:srgbClr val="0042ED"/>
                </a:solidFill>
                <a:latin typeface="Arial Narrow" panose="020B0604020202020204" pitchFamily="34" charset="0"/>
              </a:defRPr>
            </a:lvl1pPr>
          </a:lstStyle>
          <a:p>
            <a:pPr lvl="0"/>
            <a:r>
              <a:rPr lang="es-ES" dirty="0"/>
              <a:t>05</a:t>
            </a:r>
          </a:p>
        </p:txBody>
      </p:sp>
    </p:spTree>
    <p:extLst>
      <p:ext uri="{BB962C8B-B14F-4D97-AF65-F5344CB8AC3E}">
        <p14:creationId xmlns:p14="http://schemas.microsoft.com/office/powerpoint/2010/main" val="4161034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C17C39A7-9D09-EE66-10A7-8A7CFAB0198F}"/>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24A5B26F-21C4-060E-2562-6F4270FFC652}"/>
              </a:ext>
            </a:extLst>
          </p:cNvPr>
          <p:cNvSpPr>
            <a:spLocks noGrp="1"/>
          </p:cNvSpPr>
          <p:nvPr>
            <p:ph type="sldNum" sz="quarter" idx="12"/>
          </p:nvPr>
        </p:nvSpPr>
        <p:spPr/>
        <p:txBody>
          <a:bodyPr/>
          <a:lstStyle/>
          <a:p>
            <a:fld id="{FF2CED2D-DE01-CB40-AEF5-C9DD7CD06225}" type="slidenum">
              <a:rPr lang="es-ES" smtClean="0"/>
              <a:pPr/>
              <a:t>20</a:t>
            </a:fld>
            <a:endParaRPr lang="es-ES"/>
          </a:p>
        </p:txBody>
      </p:sp>
      <p:sp>
        <p:nvSpPr>
          <p:cNvPr id="7" name="Marcador de texto 6">
            <a:extLst>
              <a:ext uri="{FF2B5EF4-FFF2-40B4-BE49-F238E27FC236}">
                <a16:creationId xmlns:a16="http://schemas.microsoft.com/office/drawing/2014/main" id="{C1CA2FDA-28A5-C12B-576A-08CCEFEF04A8}"/>
              </a:ext>
            </a:extLst>
          </p:cNvPr>
          <p:cNvSpPr>
            <a:spLocks noGrp="1"/>
          </p:cNvSpPr>
          <p:nvPr>
            <p:ph type="body" sz="quarter" idx="14"/>
          </p:nvPr>
        </p:nvSpPr>
        <p:spPr/>
        <p:txBody>
          <a:bodyPr/>
          <a:lstStyle/>
          <a:p>
            <a:endParaRPr lang="en-GB"/>
          </a:p>
        </p:txBody>
      </p:sp>
      <p:sp>
        <p:nvSpPr>
          <p:cNvPr id="8" name="Marcador de texto 7">
            <a:extLst>
              <a:ext uri="{FF2B5EF4-FFF2-40B4-BE49-F238E27FC236}">
                <a16:creationId xmlns:a16="http://schemas.microsoft.com/office/drawing/2014/main" id="{3E5ACFA2-F852-7AF3-2DF5-73DBB4B0E63F}"/>
              </a:ext>
            </a:extLst>
          </p:cNvPr>
          <p:cNvSpPr>
            <a:spLocks noGrp="1"/>
          </p:cNvSpPr>
          <p:nvPr>
            <p:ph type="body" sz="quarter" idx="17"/>
          </p:nvPr>
        </p:nvSpPr>
        <p:spPr/>
        <p:txBody>
          <a:bodyPr/>
          <a:lstStyle/>
          <a:p>
            <a:endParaRPr lang="en-GB"/>
          </a:p>
        </p:txBody>
      </p:sp>
      <p:sp>
        <p:nvSpPr>
          <p:cNvPr id="9" name="Marcador de texto 8">
            <a:extLst>
              <a:ext uri="{FF2B5EF4-FFF2-40B4-BE49-F238E27FC236}">
                <a16:creationId xmlns:a16="http://schemas.microsoft.com/office/drawing/2014/main" id="{9475CD83-C8BA-F432-D455-83596D09BD24}"/>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3917717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CAD280FF-CCE7-134E-597B-B239E5CF9E36}"/>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58155A7D-798D-7DB5-6E4A-1E7A12D927F9}"/>
              </a:ext>
            </a:extLst>
          </p:cNvPr>
          <p:cNvSpPr>
            <a:spLocks noGrp="1"/>
          </p:cNvSpPr>
          <p:nvPr>
            <p:ph type="sldNum" sz="quarter" idx="12"/>
          </p:nvPr>
        </p:nvSpPr>
        <p:spPr/>
        <p:txBody>
          <a:bodyPr/>
          <a:lstStyle/>
          <a:p>
            <a:fld id="{FF2CED2D-DE01-CB40-AEF5-C9DD7CD06225}" type="slidenum">
              <a:rPr lang="es-ES" smtClean="0"/>
              <a:pPr/>
              <a:t>21</a:t>
            </a:fld>
            <a:endParaRPr lang="es-ES"/>
          </a:p>
        </p:txBody>
      </p:sp>
      <p:sp>
        <p:nvSpPr>
          <p:cNvPr id="7" name="Marcador de texto 6">
            <a:extLst>
              <a:ext uri="{FF2B5EF4-FFF2-40B4-BE49-F238E27FC236}">
                <a16:creationId xmlns:a16="http://schemas.microsoft.com/office/drawing/2014/main" id="{E9426EFF-97D0-A207-ABB6-41629EF87A28}"/>
              </a:ext>
            </a:extLst>
          </p:cNvPr>
          <p:cNvSpPr>
            <a:spLocks noGrp="1"/>
          </p:cNvSpPr>
          <p:nvPr>
            <p:ph type="body" sz="quarter" idx="14"/>
          </p:nvPr>
        </p:nvSpPr>
        <p:spPr/>
        <p:txBody>
          <a:bodyPr/>
          <a:lstStyle/>
          <a:p>
            <a:endParaRPr lang="en-GB"/>
          </a:p>
        </p:txBody>
      </p:sp>
      <p:sp>
        <p:nvSpPr>
          <p:cNvPr id="8" name="Marcador de texto 7">
            <a:extLst>
              <a:ext uri="{FF2B5EF4-FFF2-40B4-BE49-F238E27FC236}">
                <a16:creationId xmlns:a16="http://schemas.microsoft.com/office/drawing/2014/main" id="{9D1B7E8D-C846-86EF-567D-3E726C478890}"/>
              </a:ext>
            </a:extLst>
          </p:cNvPr>
          <p:cNvSpPr>
            <a:spLocks noGrp="1"/>
          </p:cNvSpPr>
          <p:nvPr>
            <p:ph type="body" sz="quarter" idx="17"/>
          </p:nvPr>
        </p:nvSpPr>
        <p:spPr/>
        <p:txBody>
          <a:bodyPr/>
          <a:lstStyle/>
          <a:p>
            <a:endParaRPr lang="en-GB"/>
          </a:p>
        </p:txBody>
      </p:sp>
      <p:sp>
        <p:nvSpPr>
          <p:cNvPr id="9" name="Marcador de texto 8">
            <a:extLst>
              <a:ext uri="{FF2B5EF4-FFF2-40B4-BE49-F238E27FC236}">
                <a16:creationId xmlns:a16="http://schemas.microsoft.com/office/drawing/2014/main" id="{62B4F6D0-F138-0C59-E3F8-DD7DB287B72C}"/>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3367212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1F25EF39-18C2-1C5F-6D4D-AEDAB3EEB9BF}"/>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70C37337-E80E-710C-487F-40B6D06CA505}"/>
              </a:ext>
            </a:extLst>
          </p:cNvPr>
          <p:cNvSpPr>
            <a:spLocks noGrp="1"/>
          </p:cNvSpPr>
          <p:nvPr>
            <p:ph type="sldNum" sz="quarter" idx="12"/>
          </p:nvPr>
        </p:nvSpPr>
        <p:spPr/>
        <p:txBody>
          <a:bodyPr/>
          <a:lstStyle/>
          <a:p>
            <a:fld id="{FF2CED2D-DE01-CB40-AEF5-C9DD7CD06225}" type="slidenum">
              <a:rPr lang="es-ES" smtClean="0"/>
              <a:pPr/>
              <a:t>22</a:t>
            </a:fld>
            <a:endParaRPr lang="es-ES"/>
          </a:p>
        </p:txBody>
      </p:sp>
      <p:sp>
        <p:nvSpPr>
          <p:cNvPr id="7" name="Marcador de texto 6">
            <a:extLst>
              <a:ext uri="{FF2B5EF4-FFF2-40B4-BE49-F238E27FC236}">
                <a16:creationId xmlns:a16="http://schemas.microsoft.com/office/drawing/2014/main" id="{7848435E-0B2F-3EA3-AA04-AC456BDFD7BD}"/>
              </a:ext>
            </a:extLst>
          </p:cNvPr>
          <p:cNvSpPr>
            <a:spLocks noGrp="1"/>
          </p:cNvSpPr>
          <p:nvPr>
            <p:ph type="body" sz="quarter" idx="17"/>
          </p:nvPr>
        </p:nvSpPr>
        <p:spPr/>
        <p:txBody>
          <a:bodyPr/>
          <a:lstStyle/>
          <a:p>
            <a:endParaRPr lang="en-GB"/>
          </a:p>
        </p:txBody>
      </p:sp>
      <p:sp>
        <p:nvSpPr>
          <p:cNvPr id="8" name="Marcador de texto 7">
            <a:extLst>
              <a:ext uri="{FF2B5EF4-FFF2-40B4-BE49-F238E27FC236}">
                <a16:creationId xmlns:a16="http://schemas.microsoft.com/office/drawing/2014/main" id="{EB8974CB-B461-078D-5C3B-E024E652CFED}"/>
              </a:ext>
            </a:extLst>
          </p:cNvPr>
          <p:cNvSpPr>
            <a:spLocks noGrp="1"/>
          </p:cNvSpPr>
          <p:nvPr>
            <p:ph type="body" sz="quarter" idx="25"/>
          </p:nvPr>
        </p:nvSpPr>
        <p:spPr/>
        <p:txBody>
          <a:bodyPr/>
          <a:lstStyle/>
          <a:p>
            <a:endParaRPr lang="en-GB"/>
          </a:p>
        </p:txBody>
      </p:sp>
      <p:sp>
        <p:nvSpPr>
          <p:cNvPr id="10" name="Marcador de texto 9">
            <a:extLst>
              <a:ext uri="{FF2B5EF4-FFF2-40B4-BE49-F238E27FC236}">
                <a16:creationId xmlns:a16="http://schemas.microsoft.com/office/drawing/2014/main" id="{688A8F41-822F-9174-827A-9ECBB6151C39}"/>
              </a:ext>
            </a:extLst>
          </p:cNvPr>
          <p:cNvSpPr>
            <a:spLocks noGrp="1"/>
          </p:cNvSpPr>
          <p:nvPr>
            <p:ph type="body" sz="quarter" idx="28"/>
          </p:nvPr>
        </p:nvSpPr>
        <p:spPr/>
        <p:txBody>
          <a:bodyPr/>
          <a:lstStyle/>
          <a:p>
            <a:endParaRPr lang="en-GB"/>
          </a:p>
        </p:txBody>
      </p:sp>
      <p:sp>
        <p:nvSpPr>
          <p:cNvPr id="9" name="Marcador de texto 8">
            <a:extLst>
              <a:ext uri="{FF2B5EF4-FFF2-40B4-BE49-F238E27FC236}">
                <a16:creationId xmlns:a16="http://schemas.microsoft.com/office/drawing/2014/main" id="{23AB413C-11D5-2A48-B5A0-27675C30F6A2}"/>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1714321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posición de imagen 10">
            <a:extLst>
              <a:ext uri="{FF2B5EF4-FFF2-40B4-BE49-F238E27FC236}">
                <a16:creationId xmlns:a16="http://schemas.microsoft.com/office/drawing/2014/main" id="{60663941-7FA1-6BE4-5736-519F7E72FF95}"/>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6F6D93FA-F1C6-666F-3DD1-8F5919CE1547}"/>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66D13665-029E-A5D8-EA16-8DCDC2EFE6EE}"/>
              </a:ext>
            </a:extLst>
          </p:cNvPr>
          <p:cNvSpPr>
            <a:spLocks noGrp="1"/>
          </p:cNvSpPr>
          <p:nvPr>
            <p:ph type="sldNum" sz="quarter" idx="12"/>
          </p:nvPr>
        </p:nvSpPr>
        <p:spPr/>
        <p:txBody>
          <a:bodyPr/>
          <a:lstStyle/>
          <a:p>
            <a:fld id="{FF2CED2D-DE01-CB40-AEF5-C9DD7CD06225}" type="slidenum">
              <a:rPr lang="es-ES" smtClean="0"/>
              <a:t>23</a:t>
            </a:fld>
            <a:endParaRPr lang="es-ES"/>
          </a:p>
        </p:txBody>
      </p:sp>
      <p:sp>
        <p:nvSpPr>
          <p:cNvPr id="10" name="Marcador de texto 9">
            <a:extLst>
              <a:ext uri="{FF2B5EF4-FFF2-40B4-BE49-F238E27FC236}">
                <a16:creationId xmlns:a16="http://schemas.microsoft.com/office/drawing/2014/main" id="{78328252-9D6A-87C0-4D9B-7C7B6C6726D3}"/>
              </a:ext>
            </a:extLst>
          </p:cNvPr>
          <p:cNvSpPr>
            <a:spLocks noGrp="1"/>
          </p:cNvSpPr>
          <p:nvPr>
            <p:ph type="body" sz="quarter" idx="14"/>
          </p:nvPr>
        </p:nvSpPr>
        <p:spPr/>
        <p:txBody>
          <a:bodyPr/>
          <a:lstStyle/>
          <a:p>
            <a:endParaRPr lang="en-GB"/>
          </a:p>
        </p:txBody>
      </p:sp>
      <p:sp>
        <p:nvSpPr>
          <p:cNvPr id="12" name="Marcador de texto 11">
            <a:extLst>
              <a:ext uri="{FF2B5EF4-FFF2-40B4-BE49-F238E27FC236}">
                <a16:creationId xmlns:a16="http://schemas.microsoft.com/office/drawing/2014/main" id="{390476B9-3457-02A7-2C78-4916AE89C955}"/>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2883164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posición de imagen 7">
            <a:extLst>
              <a:ext uri="{FF2B5EF4-FFF2-40B4-BE49-F238E27FC236}">
                <a16:creationId xmlns:a16="http://schemas.microsoft.com/office/drawing/2014/main" id="{97B2EA57-44A2-51AE-EB0C-CA5917DCB522}"/>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4F467D35-9BE2-ECC6-2B4F-D05C7CC0F187}"/>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5656BC1B-9110-973E-6C89-4C505A6B2B29}"/>
              </a:ext>
            </a:extLst>
          </p:cNvPr>
          <p:cNvSpPr>
            <a:spLocks noGrp="1"/>
          </p:cNvSpPr>
          <p:nvPr>
            <p:ph type="sldNum" sz="quarter" idx="12"/>
          </p:nvPr>
        </p:nvSpPr>
        <p:spPr/>
        <p:txBody>
          <a:bodyPr/>
          <a:lstStyle/>
          <a:p>
            <a:fld id="{FF2CED2D-DE01-CB40-AEF5-C9DD7CD06225}" type="slidenum">
              <a:rPr lang="es-ES" smtClean="0"/>
              <a:pPr/>
              <a:t>24</a:t>
            </a:fld>
            <a:endParaRPr lang="es-ES"/>
          </a:p>
        </p:txBody>
      </p:sp>
      <p:sp>
        <p:nvSpPr>
          <p:cNvPr id="7" name="Marcador de texto 6">
            <a:extLst>
              <a:ext uri="{FF2B5EF4-FFF2-40B4-BE49-F238E27FC236}">
                <a16:creationId xmlns:a16="http://schemas.microsoft.com/office/drawing/2014/main" id="{545084B0-03D6-DA88-A251-3D2E71761CBB}"/>
              </a:ext>
            </a:extLst>
          </p:cNvPr>
          <p:cNvSpPr>
            <a:spLocks noGrp="1"/>
          </p:cNvSpPr>
          <p:nvPr>
            <p:ph type="body" sz="quarter" idx="14"/>
          </p:nvPr>
        </p:nvSpPr>
        <p:spPr/>
        <p:txBody>
          <a:bodyPr/>
          <a:lstStyle/>
          <a:p>
            <a:endParaRPr lang="en-GB"/>
          </a:p>
        </p:txBody>
      </p:sp>
      <p:sp>
        <p:nvSpPr>
          <p:cNvPr id="9" name="Marcador de texto 8">
            <a:extLst>
              <a:ext uri="{FF2B5EF4-FFF2-40B4-BE49-F238E27FC236}">
                <a16:creationId xmlns:a16="http://schemas.microsoft.com/office/drawing/2014/main" id="{8E8811A8-2DBA-6150-D431-9635568521CE}"/>
              </a:ext>
            </a:extLst>
          </p:cNvPr>
          <p:cNvSpPr>
            <a:spLocks noGrp="1"/>
          </p:cNvSpPr>
          <p:nvPr>
            <p:ph type="body" sz="quarter" idx="25"/>
          </p:nvPr>
        </p:nvSpPr>
        <p:spPr/>
        <p:txBody>
          <a:bodyPr/>
          <a:lstStyle/>
          <a:p>
            <a:endParaRPr lang="en-GB"/>
          </a:p>
        </p:txBody>
      </p:sp>
    </p:spTree>
    <p:extLst>
      <p:ext uri="{BB962C8B-B14F-4D97-AF65-F5344CB8AC3E}">
        <p14:creationId xmlns:p14="http://schemas.microsoft.com/office/powerpoint/2010/main" val="1289611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ción de imagen 1">
            <a:extLst>
              <a:ext uri="{FF2B5EF4-FFF2-40B4-BE49-F238E27FC236}">
                <a16:creationId xmlns:a16="http://schemas.microsoft.com/office/drawing/2014/main" id="{A33BCDA1-0900-DD18-4AF2-5827BD346E79}"/>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42116A55-9EE0-613B-5CEB-F932E3D1DC69}"/>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6678F460-2929-6D12-FB70-C351D03A9BA3}"/>
              </a:ext>
            </a:extLst>
          </p:cNvPr>
          <p:cNvSpPr>
            <a:spLocks noGrp="1"/>
          </p:cNvSpPr>
          <p:nvPr>
            <p:ph type="sldNum" sz="quarter" idx="12"/>
          </p:nvPr>
        </p:nvSpPr>
        <p:spPr/>
        <p:txBody>
          <a:bodyPr/>
          <a:lstStyle/>
          <a:p>
            <a:fld id="{FF2CED2D-DE01-CB40-AEF5-C9DD7CD06225}" type="slidenum">
              <a:rPr lang="es-ES" smtClean="0"/>
              <a:pPr/>
              <a:t>25</a:t>
            </a:fld>
            <a:endParaRPr lang="es-ES"/>
          </a:p>
        </p:txBody>
      </p:sp>
      <p:sp>
        <p:nvSpPr>
          <p:cNvPr id="5" name="Marcador de texto 4">
            <a:extLst>
              <a:ext uri="{FF2B5EF4-FFF2-40B4-BE49-F238E27FC236}">
                <a16:creationId xmlns:a16="http://schemas.microsoft.com/office/drawing/2014/main" id="{094F6908-DB35-045E-D4E8-14DE9D189D62}"/>
              </a:ext>
            </a:extLst>
          </p:cNvPr>
          <p:cNvSpPr>
            <a:spLocks noGrp="1"/>
          </p:cNvSpPr>
          <p:nvPr>
            <p:ph type="body" sz="quarter" idx="14"/>
          </p:nvPr>
        </p:nvSpPr>
        <p:spPr/>
        <p:txBody>
          <a:bodyPr/>
          <a:lstStyle/>
          <a:p>
            <a:endParaRPr lang="en-GB"/>
          </a:p>
        </p:txBody>
      </p:sp>
      <p:sp>
        <p:nvSpPr>
          <p:cNvPr id="6" name="Marcador de texto 5">
            <a:extLst>
              <a:ext uri="{FF2B5EF4-FFF2-40B4-BE49-F238E27FC236}">
                <a16:creationId xmlns:a16="http://schemas.microsoft.com/office/drawing/2014/main" id="{75118E3C-DA3F-255B-7B47-47FFDB7210D8}"/>
              </a:ext>
            </a:extLst>
          </p:cNvPr>
          <p:cNvSpPr>
            <a:spLocks noGrp="1"/>
          </p:cNvSpPr>
          <p:nvPr>
            <p:ph type="body" sz="quarter" idx="4294967295"/>
          </p:nvPr>
        </p:nvSpPr>
        <p:spPr>
          <a:xfrm>
            <a:off x="555625" y="1733550"/>
            <a:ext cx="4500000" cy="4316413"/>
          </a:xfrm>
          <a:prstGeom prst="rect">
            <a:avLst/>
          </a:prstGeom>
        </p:spPr>
        <p:txBody>
          <a:bodyPr/>
          <a:lstStyle/>
          <a:p>
            <a:endParaRPr lang="en-GB"/>
          </a:p>
        </p:txBody>
      </p:sp>
    </p:spTree>
    <p:extLst>
      <p:ext uri="{BB962C8B-B14F-4D97-AF65-F5344CB8AC3E}">
        <p14:creationId xmlns:p14="http://schemas.microsoft.com/office/powerpoint/2010/main" val="22195254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47A8F584-9835-CBA8-5323-428B2FC02E77}"/>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ECEA25AC-AA54-C012-8D93-1AB9BE429326}"/>
              </a:ext>
            </a:extLst>
          </p:cNvPr>
          <p:cNvSpPr>
            <a:spLocks noGrp="1"/>
          </p:cNvSpPr>
          <p:nvPr>
            <p:ph type="sldNum" sz="quarter" idx="12"/>
          </p:nvPr>
        </p:nvSpPr>
        <p:spPr/>
        <p:txBody>
          <a:bodyPr/>
          <a:lstStyle/>
          <a:p>
            <a:fld id="{FF2CED2D-DE01-CB40-AEF5-C9DD7CD06225}" type="slidenum">
              <a:rPr lang="es-ES" smtClean="0"/>
              <a:t>26</a:t>
            </a:fld>
            <a:endParaRPr lang="es-ES"/>
          </a:p>
        </p:txBody>
      </p:sp>
      <p:sp>
        <p:nvSpPr>
          <p:cNvPr id="4" name="Marcador de texto 3">
            <a:extLst>
              <a:ext uri="{FF2B5EF4-FFF2-40B4-BE49-F238E27FC236}">
                <a16:creationId xmlns:a16="http://schemas.microsoft.com/office/drawing/2014/main" id="{83288477-1492-70B6-EC29-208D6C6462AB}"/>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16388075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413ABC-7AFC-06CC-F25E-41E802D43BFF}"/>
              </a:ext>
            </a:extLst>
          </p:cNvPr>
          <p:cNvSpPr>
            <a:spLocks noGrp="1"/>
          </p:cNvSpPr>
          <p:nvPr>
            <p:ph type="body" sz="quarter" idx="24"/>
          </p:nvPr>
        </p:nvSpPr>
        <p:spPr/>
        <p:txBody>
          <a:bodyPr/>
          <a:lstStyle/>
          <a:p>
            <a:endParaRPr lang="en-GB"/>
          </a:p>
        </p:txBody>
      </p:sp>
      <p:sp>
        <p:nvSpPr>
          <p:cNvPr id="3" name="Marcador de pie de página 2">
            <a:extLst>
              <a:ext uri="{FF2B5EF4-FFF2-40B4-BE49-F238E27FC236}">
                <a16:creationId xmlns:a16="http://schemas.microsoft.com/office/drawing/2014/main" id="{00FE8E75-AAA0-8D80-EE48-F57DC79D474F}"/>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63C24DBF-E824-E5B0-7EB9-77B7C3C347F1}"/>
              </a:ext>
            </a:extLst>
          </p:cNvPr>
          <p:cNvSpPr>
            <a:spLocks noGrp="1"/>
          </p:cNvSpPr>
          <p:nvPr>
            <p:ph type="sldNum" sz="quarter" idx="12"/>
          </p:nvPr>
        </p:nvSpPr>
        <p:spPr/>
        <p:txBody>
          <a:bodyPr/>
          <a:lstStyle/>
          <a:p>
            <a:fld id="{FF2CED2D-DE01-CB40-AEF5-C9DD7CD06225}" type="slidenum">
              <a:rPr lang="es-ES" smtClean="0"/>
              <a:t>27</a:t>
            </a:fld>
            <a:endParaRPr lang="es-ES"/>
          </a:p>
        </p:txBody>
      </p:sp>
      <p:sp>
        <p:nvSpPr>
          <p:cNvPr id="5" name="Marcador de texto 4">
            <a:extLst>
              <a:ext uri="{FF2B5EF4-FFF2-40B4-BE49-F238E27FC236}">
                <a16:creationId xmlns:a16="http://schemas.microsoft.com/office/drawing/2014/main" id="{1ACEBFC3-C952-121A-4481-ABDE7901ECB2}"/>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34793872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p:cNvSpPr>
            <a:spLocks noGrp="1"/>
          </p:cNvSpPr>
          <p:nvPr>
            <p:ph type="ftr" sz="quarter" idx="11"/>
          </p:nvPr>
        </p:nvSpPr>
        <p:spPr/>
        <p:txBody>
          <a:bodyPr/>
          <a:lstStyle/>
          <a:p>
            <a:r>
              <a:rPr lang="es-ES"/>
              <a:t>Proprietary Information - Confidential</a:t>
            </a:r>
          </a:p>
        </p:txBody>
      </p:sp>
      <p:sp>
        <p:nvSpPr>
          <p:cNvPr id="3" name="Marcador de número de diapositiva 2"/>
          <p:cNvSpPr>
            <a:spLocks noGrp="1"/>
          </p:cNvSpPr>
          <p:nvPr>
            <p:ph type="sldNum" sz="quarter" idx="12"/>
          </p:nvPr>
        </p:nvSpPr>
        <p:spPr/>
        <p:txBody>
          <a:bodyPr/>
          <a:lstStyle/>
          <a:p>
            <a:fld id="{FF2CED2D-DE01-CB40-AEF5-C9DD7CD06225}" type="slidenum">
              <a:rPr lang="es-ES" smtClean="0"/>
              <a:t>28</a:t>
            </a:fld>
            <a:endParaRPr lang="es-ES"/>
          </a:p>
        </p:txBody>
      </p:sp>
      <p:sp>
        <p:nvSpPr>
          <p:cNvPr id="7" name="Marcador de gráfico 6">
            <a:extLst>
              <a:ext uri="{FF2B5EF4-FFF2-40B4-BE49-F238E27FC236}">
                <a16:creationId xmlns:a16="http://schemas.microsoft.com/office/drawing/2014/main" id="{567F0264-B5EA-C212-2BF6-2B9398CBB459}"/>
              </a:ext>
            </a:extLst>
          </p:cNvPr>
          <p:cNvSpPr>
            <a:spLocks noGrp="1"/>
          </p:cNvSpPr>
          <p:nvPr>
            <p:ph type="chart" sz="quarter" idx="17"/>
          </p:nvPr>
        </p:nvSpPr>
        <p:spPr/>
        <p:txBody>
          <a:bodyPr/>
          <a:lstStyle/>
          <a:p>
            <a:endParaRPr lang="en-GB"/>
          </a:p>
        </p:txBody>
      </p:sp>
      <p:sp>
        <p:nvSpPr>
          <p:cNvPr id="8" name="Marcador de texto 7">
            <a:extLst>
              <a:ext uri="{FF2B5EF4-FFF2-40B4-BE49-F238E27FC236}">
                <a16:creationId xmlns:a16="http://schemas.microsoft.com/office/drawing/2014/main" id="{233428B2-43DE-16CC-9820-10CE49D6F7CE}"/>
              </a:ext>
            </a:extLst>
          </p:cNvPr>
          <p:cNvSpPr>
            <a:spLocks noGrp="1"/>
          </p:cNvSpPr>
          <p:nvPr>
            <p:ph type="body" sz="quarter" idx="24"/>
          </p:nvPr>
        </p:nvSpPr>
        <p:spPr/>
        <p:txBody>
          <a:bodyPr/>
          <a:lstStyle/>
          <a:p>
            <a:endParaRPr lang="en-GB"/>
          </a:p>
        </p:txBody>
      </p:sp>
      <p:sp>
        <p:nvSpPr>
          <p:cNvPr id="9" name="Marcador de texto 8">
            <a:extLst>
              <a:ext uri="{FF2B5EF4-FFF2-40B4-BE49-F238E27FC236}">
                <a16:creationId xmlns:a16="http://schemas.microsoft.com/office/drawing/2014/main" id="{2B1C79AE-7715-0B63-001B-E4F9B95F11F8}"/>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18410888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314EB015-6850-A4EC-26E0-6EA0C9E75B56}"/>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63D1ADA9-0534-A42C-863B-92BAFF04A4C4}"/>
              </a:ext>
            </a:extLst>
          </p:cNvPr>
          <p:cNvSpPr>
            <a:spLocks noGrp="1"/>
          </p:cNvSpPr>
          <p:nvPr>
            <p:ph type="sldNum" sz="quarter" idx="12"/>
          </p:nvPr>
        </p:nvSpPr>
        <p:spPr/>
        <p:txBody>
          <a:bodyPr/>
          <a:lstStyle/>
          <a:p>
            <a:fld id="{FF2CED2D-DE01-CB40-AEF5-C9DD7CD06225}" type="slidenum">
              <a:rPr lang="es-ES" smtClean="0"/>
              <a:t>29</a:t>
            </a:fld>
            <a:endParaRPr lang="es-ES"/>
          </a:p>
        </p:txBody>
      </p:sp>
      <p:sp>
        <p:nvSpPr>
          <p:cNvPr id="8" name="Marcador de gráfico 7">
            <a:extLst>
              <a:ext uri="{FF2B5EF4-FFF2-40B4-BE49-F238E27FC236}">
                <a16:creationId xmlns:a16="http://schemas.microsoft.com/office/drawing/2014/main" id="{C73EE4A9-E7F1-D8F2-0F75-9058E310357E}"/>
              </a:ext>
            </a:extLst>
          </p:cNvPr>
          <p:cNvSpPr>
            <a:spLocks noGrp="1"/>
          </p:cNvSpPr>
          <p:nvPr>
            <p:ph type="chart" sz="quarter" idx="17"/>
          </p:nvPr>
        </p:nvSpPr>
        <p:spPr/>
        <p:txBody>
          <a:bodyPr/>
          <a:lstStyle/>
          <a:p>
            <a:endParaRPr lang="en-GB"/>
          </a:p>
        </p:txBody>
      </p:sp>
      <p:sp>
        <p:nvSpPr>
          <p:cNvPr id="7" name="Marcador de texto 6">
            <a:extLst>
              <a:ext uri="{FF2B5EF4-FFF2-40B4-BE49-F238E27FC236}">
                <a16:creationId xmlns:a16="http://schemas.microsoft.com/office/drawing/2014/main" id="{001A311F-C7A3-1C24-EA7F-E479CEA2B8E4}"/>
              </a:ext>
            </a:extLst>
          </p:cNvPr>
          <p:cNvSpPr>
            <a:spLocks noGrp="1"/>
          </p:cNvSpPr>
          <p:nvPr>
            <p:ph type="body" sz="quarter" idx="14"/>
          </p:nvPr>
        </p:nvSpPr>
        <p:spPr/>
        <p:txBody>
          <a:bodyPr/>
          <a:lstStyle/>
          <a:p>
            <a:endParaRPr lang="en-GB"/>
          </a:p>
        </p:txBody>
      </p:sp>
      <p:sp>
        <p:nvSpPr>
          <p:cNvPr id="9" name="Marcador de texto 8">
            <a:extLst>
              <a:ext uri="{FF2B5EF4-FFF2-40B4-BE49-F238E27FC236}">
                <a16:creationId xmlns:a16="http://schemas.microsoft.com/office/drawing/2014/main" id="{BA50F480-6DD5-F36A-758F-68B037886D62}"/>
              </a:ext>
            </a:extLst>
          </p:cNvPr>
          <p:cNvSpPr>
            <a:spLocks noGrp="1"/>
          </p:cNvSpPr>
          <p:nvPr>
            <p:ph type="body" sz="quarter" idx="18"/>
          </p:nvPr>
        </p:nvSpPr>
        <p:spPr/>
        <p:txBody>
          <a:bodyPr/>
          <a:lstStyle/>
          <a:p>
            <a:endParaRPr lang="en-GB"/>
          </a:p>
        </p:txBody>
      </p:sp>
    </p:spTree>
    <p:extLst>
      <p:ext uri="{BB962C8B-B14F-4D97-AF65-F5344CB8AC3E}">
        <p14:creationId xmlns:p14="http://schemas.microsoft.com/office/powerpoint/2010/main" val="2478556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3"/>
          </p:nvPr>
        </p:nvSpPr>
        <p:spPr/>
        <p:txBody>
          <a:bodyPr/>
          <a:lstStyle/>
          <a:p>
            <a:r>
              <a:rPr lang="es-ES"/>
              <a:t>01</a:t>
            </a:r>
          </a:p>
        </p:txBody>
      </p:sp>
      <p:sp>
        <p:nvSpPr>
          <p:cNvPr id="4" name="Marcador de pie de página 3"/>
          <p:cNvSpPr>
            <a:spLocks noGrp="1"/>
          </p:cNvSpPr>
          <p:nvPr>
            <p:ph type="ftr" sz="quarter" idx="11"/>
          </p:nvPr>
        </p:nvSpPr>
        <p:spPr/>
        <p:txBody>
          <a:bodyPr/>
          <a:lstStyle/>
          <a:p>
            <a:r>
              <a:rPr lang="es-ES"/>
              <a:t>Proprietary Information - Confidential</a:t>
            </a:r>
          </a:p>
        </p:txBody>
      </p:sp>
      <p:sp>
        <p:nvSpPr>
          <p:cNvPr id="5" name="Marcador de número de diapositiva 4"/>
          <p:cNvSpPr>
            <a:spLocks noGrp="1"/>
          </p:cNvSpPr>
          <p:nvPr>
            <p:ph type="sldNum" sz="quarter" idx="12"/>
          </p:nvPr>
        </p:nvSpPr>
        <p:spPr/>
        <p:txBody>
          <a:bodyPr/>
          <a:lstStyle/>
          <a:p>
            <a:fld id="{FF2CED2D-DE01-CB40-AEF5-C9DD7CD06225}" type="slidenum">
              <a:rPr lang="es-ES" smtClean="0"/>
              <a:t>3</a:t>
            </a:fld>
            <a:endParaRPr lang="es-ES"/>
          </a:p>
        </p:txBody>
      </p:sp>
      <p:sp>
        <p:nvSpPr>
          <p:cNvPr id="6" name="Marcador de texto 5"/>
          <p:cNvSpPr>
            <a:spLocks noGrp="1"/>
          </p:cNvSpPr>
          <p:nvPr>
            <p:ph type="body" sz="quarter" idx="19"/>
          </p:nvPr>
        </p:nvSpPr>
        <p:spPr/>
        <p:txBody>
          <a:bodyPr/>
          <a:lstStyle/>
          <a:p>
            <a:r>
              <a:rPr lang="en-GB" dirty="0"/>
              <a:t>INTRODUCCIÓN</a:t>
            </a:r>
          </a:p>
          <a:p>
            <a:endParaRPr lang="es-ES" dirty="0"/>
          </a:p>
        </p:txBody>
      </p:sp>
      <p:pic>
        <p:nvPicPr>
          <p:cNvPr id="12" name="Marcador de posición de imagen 11"/>
          <p:cNvPicPr>
            <a:picLocks noGrp="1" noChangeAspect="1"/>
          </p:cNvPicPr>
          <p:nvPr>
            <p:ph type="pic" idx="1"/>
          </p:nvPr>
        </p:nvPicPr>
        <p:blipFill>
          <a:blip r:embed="rId2">
            <a:extLst>
              <a:ext uri="{28A0092B-C50C-407E-A947-70E740481C1C}">
                <a14:useLocalDpi xmlns:a14="http://schemas.microsoft.com/office/drawing/2010/main" val="0"/>
              </a:ext>
            </a:extLst>
          </a:blip>
          <a:srcRect l="29792" r="29792"/>
          <a:stretch>
            <a:fillRect/>
          </a:stretch>
        </p:blipFill>
        <p:spPr/>
      </p:pic>
    </p:spTree>
    <p:extLst>
      <p:ext uri="{BB962C8B-B14F-4D97-AF65-F5344CB8AC3E}">
        <p14:creationId xmlns:p14="http://schemas.microsoft.com/office/powerpoint/2010/main" val="19662122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7">
            <a:extLst>
              <a:ext uri="{FF2B5EF4-FFF2-40B4-BE49-F238E27FC236}">
                <a16:creationId xmlns:a16="http://schemas.microsoft.com/office/drawing/2014/main" id="{B0566741-02E3-0005-9A10-FC93FCEFF154}"/>
              </a:ext>
            </a:extLst>
          </p:cNvPr>
          <p:cNvSpPr>
            <a:spLocks noGrp="1"/>
          </p:cNvSpPr>
          <p:nvPr>
            <p:ph sz="quarter" idx="18"/>
          </p:nvPr>
        </p:nvSpPr>
        <p:spPr/>
        <p:txBody>
          <a:bodyPr/>
          <a:lstStyle/>
          <a:p>
            <a:endParaRPr lang="en-GB"/>
          </a:p>
        </p:txBody>
      </p:sp>
      <p:sp>
        <p:nvSpPr>
          <p:cNvPr id="3" name="Marcador de pie de página 2">
            <a:extLst>
              <a:ext uri="{FF2B5EF4-FFF2-40B4-BE49-F238E27FC236}">
                <a16:creationId xmlns:a16="http://schemas.microsoft.com/office/drawing/2014/main" id="{30672A4B-991F-48AD-5642-F14BA1A882B2}"/>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0E90EC8B-7248-B091-DB27-474DD6E21251}"/>
              </a:ext>
            </a:extLst>
          </p:cNvPr>
          <p:cNvSpPr>
            <a:spLocks noGrp="1"/>
          </p:cNvSpPr>
          <p:nvPr>
            <p:ph type="sldNum" sz="quarter" idx="12"/>
          </p:nvPr>
        </p:nvSpPr>
        <p:spPr/>
        <p:txBody>
          <a:bodyPr/>
          <a:lstStyle/>
          <a:p>
            <a:fld id="{FF2CED2D-DE01-CB40-AEF5-C9DD7CD06225}" type="slidenum">
              <a:rPr lang="es-ES" smtClean="0"/>
              <a:t>30</a:t>
            </a:fld>
            <a:endParaRPr lang="es-ES"/>
          </a:p>
        </p:txBody>
      </p:sp>
      <p:sp>
        <p:nvSpPr>
          <p:cNvPr id="7" name="Marcador de texto 6">
            <a:extLst>
              <a:ext uri="{FF2B5EF4-FFF2-40B4-BE49-F238E27FC236}">
                <a16:creationId xmlns:a16="http://schemas.microsoft.com/office/drawing/2014/main" id="{C6114A8B-451E-1CE1-2273-BC28060BAF36}"/>
              </a:ext>
            </a:extLst>
          </p:cNvPr>
          <p:cNvSpPr>
            <a:spLocks noGrp="1"/>
          </p:cNvSpPr>
          <p:nvPr>
            <p:ph type="body" sz="quarter" idx="14"/>
          </p:nvPr>
        </p:nvSpPr>
        <p:spPr/>
        <p:txBody>
          <a:bodyPr/>
          <a:lstStyle/>
          <a:p>
            <a:endParaRPr lang="en-GB"/>
          </a:p>
        </p:txBody>
      </p:sp>
      <p:sp>
        <p:nvSpPr>
          <p:cNvPr id="9" name="Marcador de texto 8">
            <a:extLst>
              <a:ext uri="{FF2B5EF4-FFF2-40B4-BE49-F238E27FC236}">
                <a16:creationId xmlns:a16="http://schemas.microsoft.com/office/drawing/2014/main" id="{0A66C2F0-754A-6F8A-C88B-809BC5E05FEA}"/>
              </a:ext>
            </a:extLst>
          </p:cNvPr>
          <p:cNvSpPr>
            <a:spLocks noGrp="1"/>
          </p:cNvSpPr>
          <p:nvPr>
            <p:ph type="body" sz="quarter" idx="19"/>
          </p:nvPr>
        </p:nvSpPr>
        <p:spPr/>
        <p:txBody>
          <a:bodyPr/>
          <a:lstStyle/>
          <a:p>
            <a:endParaRPr lang="en-GB"/>
          </a:p>
        </p:txBody>
      </p:sp>
    </p:spTree>
    <p:extLst>
      <p:ext uri="{BB962C8B-B14F-4D97-AF65-F5344CB8AC3E}">
        <p14:creationId xmlns:p14="http://schemas.microsoft.com/office/powerpoint/2010/main" val="31059666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6949F083-FD74-E2D7-B802-1DDFE8A7139C}"/>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22730C06-D8AE-03D9-ED30-FFD4CD315629}"/>
              </a:ext>
            </a:extLst>
          </p:cNvPr>
          <p:cNvSpPr>
            <a:spLocks noGrp="1"/>
          </p:cNvSpPr>
          <p:nvPr>
            <p:ph type="sldNum" sz="quarter" idx="12"/>
          </p:nvPr>
        </p:nvSpPr>
        <p:spPr/>
        <p:txBody>
          <a:bodyPr/>
          <a:lstStyle/>
          <a:p>
            <a:fld id="{FF2CED2D-DE01-CB40-AEF5-C9DD7CD06225}" type="slidenum">
              <a:rPr lang="es-ES" smtClean="0"/>
              <a:pPr/>
              <a:t>31</a:t>
            </a:fld>
            <a:endParaRPr lang="es-ES"/>
          </a:p>
        </p:txBody>
      </p:sp>
      <p:sp>
        <p:nvSpPr>
          <p:cNvPr id="12" name="Marcador de texto 11">
            <a:extLst>
              <a:ext uri="{FF2B5EF4-FFF2-40B4-BE49-F238E27FC236}">
                <a16:creationId xmlns:a16="http://schemas.microsoft.com/office/drawing/2014/main" id="{02ABCD5B-05B8-CCC9-10DE-BF0433193509}"/>
              </a:ext>
            </a:extLst>
          </p:cNvPr>
          <p:cNvSpPr>
            <a:spLocks noGrp="1"/>
          </p:cNvSpPr>
          <p:nvPr>
            <p:ph type="body" sz="quarter" idx="14"/>
          </p:nvPr>
        </p:nvSpPr>
        <p:spPr/>
        <p:txBody>
          <a:bodyPr/>
          <a:lstStyle/>
          <a:p>
            <a:endParaRPr lang="en-GB"/>
          </a:p>
        </p:txBody>
      </p:sp>
      <p:sp>
        <p:nvSpPr>
          <p:cNvPr id="13" name="Marcador de texto 12">
            <a:extLst>
              <a:ext uri="{FF2B5EF4-FFF2-40B4-BE49-F238E27FC236}">
                <a16:creationId xmlns:a16="http://schemas.microsoft.com/office/drawing/2014/main" id="{479EEAA0-9740-939A-C3C0-509D00CAFF62}"/>
              </a:ext>
            </a:extLst>
          </p:cNvPr>
          <p:cNvSpPr>
            <a:spLocks noGrp="1"/>
          </p:cNvSpPr>
          <p:nvPr>
            <p:ph type="body" sz="quarter" idx="17"/>
          </p:nvPr>
        </p:nvSpPr>
        <p:spPr/>
        <p:txBody>
          <a:bodyPr/>
          <a:lstStyle/>
          <a:p>
            <a:endParaRPr lang="en-GB"/>
          </a:p>
        </p:txBody>
      </p:sp>
      <p:sp>
        <p:nvSpPr>
          <p:cNvPr id="14" name="Marcador de texto 13">
            <a:extLst>
              <a:ext uri="{FF2B5EF4-FFF2-40B4-BE49-F238E27FC236}">
                <a16:creationId xmlns:a16="http://schemas.microsoft.com/office/drawing/2014/main" id="{D6D8C4B3-2AC2-B67D-EB30-6E7FD00CBE86}"/>
              </a:ext>
            </a:extLst>
          </p:cNvPr>
          <p:cNvSpPr>
            <a:spLocks noGrp="1"/>
          </p:cNvSpPr>
          <p:nvPr>
            <p:ph type="body" sz="quarter" idx="19"/>
          </p:nvPr>
        </p:nvSpPr>
        <p:spPr/>
        <p:txBody>
          <a:bodyPr/>
          <a:lstStyle/>
          <a:p>
            <a:endParaRPr lang="en-GB"/>
          </a:p>
        </p:txBody>
      </p:sp>
      <p:sp>
        <p:nvSpPr>
          <p:cNvPr id="15" name="Marcador de texto 14">
            <a:extLst>
              <a:ext uri="{FF2B5EF4-FFF2-40B4-BE49-F238E27FC236}">
                <a16:creationId xmlns:a16="http://schemas.microsoft.com/office/drawing/2014/main" id="{132D39E9-0CB9-2D4C-A823-DEB1E2E5BFCA}"/>
              </a:ext>
            </a:extLst>
          </p:cNvPr>
          <p:cNvSpPr>
            <a:spLocks noGrp="1"/>
          </p:cNvSpPr>
          <p:nvPr>
            <p:ph type="body" sz="quarter" idx="21"/>
          </p:nvPr>
        </p:nvSpPr>
        <p:spPr/>
        <p:txBody>
          <a:bodyPr/>
          <a:lstStyle/>
          <a:p>
            <a:endParaRPr lang="en-GB"/>
          </a:p>
        </p:txBody>
      </p:sp>
      <p:sp>
        <p:nvSpPr>
          <p:cNvPr id="16" name="Marcador de texto 15">
            <a:extLst>
              <a:ext uri="{FF2B5EF4-FFF2-40B4-BE49-F238E27FC236}">
                <a16:creationId xmlns:a16="http://schemas.microsoft.com/office/drawing/2014/main" id="{58F0C91D-EA2D-07AC-FB41-0264C917E787}"/>
              </a:ext>
            </a:extLst>
          </p:cNvPr>
          <p:cNvSpPr>
            <a:spLocks noGrp="1"/>
          </p:cNvSpPr>
          <p:nvPr>
            <p:ph type="body" sz="quarter" idx="24"/>
          </p:nvPr>
        </p:nvSpPr>
        <p:spPr/>
        <p:txBody>
          <a:bodyPr/>
          <a:lstStyle/>
          <a:p>
            <a:endParaRPr lang="en-GB"/>
          </a:p>
        </p:txBody>
      </p:sp>
      <p:sp>
        <p:nvSpPr>
          <p:cNvPr id="17" name="Marcador de texto 16">
            <a:extLst>
              <a:ext uri="{FF2B5EF4-FFF2-40B4-BE49-F238E27FC236}">
                <a16:creationId xmlns:a16="http://schemas.microsoft.com/office/drawing/2014/main" id="{510F2A01-015D-2C56-9448-7920FDA43572}"/>
              </a:ext>
            </a:extLst>
          </p:cNvPr>
          <p:cNvSpPr>
            <a:spLocks noGrp="1"/>
          </p:cNvSpPr>
          <p:nvPr>
            <p:ph type="body" sz="quarter" idx="25"/>
          </p:nvPr>
        </p:nvSpPr>
        <p:spPr/>
        <p:txBody>
          <a:bodyPr/>
          <a:lstStyle/>
          <a:p>
            <a:endParaRPr lang="en-GB"/>
          </a:p>
        </p:txBody>
      </p:sp>
      <p:sp>
        <p:nvSpPr>
          <p:cNvPr id="18" name="Marcador de texto 17">
            <a:extLst>
              <a:ext uri="{FF2B5EF4-FFF2-40B4-BE49-F238E27FC236}">
                <a16:creationId xmlns:a16="http://schemas.microsoft.com/office/drawing/2014/main" id="{91DEC4E6-E8FD-0B2A-437B-C5EEFD7FA16D}"/>
              </a:ext>
            </a:extLst>
          </p:cNvPr>
          <p:cNvSpPr>
            <a:spLocks noGrp="1"/>
          </p:cNvSpPr>
          <p:nvPr>
            <p:ph type="body" sz="quarter" idx="26"/>
          </p:nvPr>
        </p:nvSpPr>
        <p:spPr/>
        <p:txBody>
          <a:bodyPr/>
          <a:lstStyle/>
          <a:p>
            <a:endParaRPr lang="en-GB"/>
          </a:p>
        </p:txBody>
      </p:sp>
      <p:sp>
        <p:nvSpPr>
          <p:cNvPr id="19" name="Marcador de texto 18">
            <a:extLst>
              <a:ext uri="{FF2B5EF4-FFF2-40B4-BE49-F238E27FC236}">
                <a16:creationId xmlns:a16="http://schemas.microsoft.com/office/drawing/2014/main" id="{DCEB9E50-F008-8FF5-0483-F363A8A0F261}"/>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3618380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p:cNvSpPr>
            <a:spLocks noGrp="1"/>
          </p:cNvSpPr>
          <p:nvPr>
            <p:ph type="ftr" sz="quarter" idx="11"/>
          </p:nvPr>
        </p:nvSpPr>
        <p:spPr/>
        <p:txBody>
          <a:bodyPr/>
          <a:lstStyle/>
          <a:p>
            <a:r>
              <a:rPr lang="es-ES"/>
              <a:t>Proprietary Information - Confidential</a:t>
            </a:r>
          </a:p>
        </p:txBody>
      </p:sp>
      <p:sp>
        <p:nvSpPr>
          <p:cNvPr id="3" name="Marcador de número de diapositiva 2"/>
          <p:cNvSpPr>
            <a:spLocks noGrp="1"/>
          </p:cNvSpPr>
          <p:nvPr>
            <p:ph type="sldNum" sz="quarter" idx="12"/>
          </p:nvPr>
        </p:nvSpPr>
        <p:spPr/>
        <p:txBody>
          <a:bodyPr/>
          <a:lstStyle/>
          <a:p>
            <a:fld id="{FF2CED2D-DE01-CB40-AEF5-C9DD7CD06225}" type="slidenum">
              <a:rPr lang="es-ES" smtClean="0"/>
              <a:t>32</a:t>
            </a:fld>
            <a:endParaRPr lang="es-ES"/>
          </a:p>
        </p:txBody>
      </p:sp>
      <p:sp>
        <p:nvSpPr>
          <p:cNvPr id="9" name="Marcador de texto 8">
            <a:extLst>
              <a:ext uri="{FF2B5EF4-FFF2-40B4-BE49-F238E27FC236}">
                <a16:creationId xmlns:a16="http://schemas.microsoft.com/office/drawing/2014/main" id="{EEFE4F7E-E7D2-5268-9689-3A48EFD888AA}"/>
              </a:ext>
            </a:extLst>
          </p:cNvPr>
          <p:cNvSpPr>
            <a:spLocks noGrp="1"/>
          </p:cNvSpPr>
          <p:nvPr>
            <p:ph type="body" sz="quarter" idx="19"/>
          </p:nvPr>
        </p:nvSpPr>
        <p:spPr/>
        <p:txBody>
          <a:bodyPr/>
          <a:lstStyle/>
          <a:p>
            <a:endParaRPr lang="en-GB"/>
          </a:p>
        </p:txBody>
      </p:sp>
      <p:sp>
        <p:nvSpPr>
          <p:cNvPr id="10" name="Marcador de texto 9">
            <a:extLst>
              <a:ext uri="{FF2B5EF4-FFF2-40B4-BE49-F238E27FC236}">
                <a16:creationId xmlns:a16="http://schemas.microsoft.com/office/drawing/2014/main" id="{20A774AF-F47C-2A85-2319-1F6866CD1186}"/>
              </a:ext>
            </a:extLst>
          </p:cNvPr>
          <p:cNvSpPr>
            <a:spLocks noGrp="1"/>
          </p:cNvSpPr>
          <p:nvPr>
            <p:ph type="body" sz="quarter" idx="25"/>
          </p:nvPr>
        </p:nvSpPr>
        <p:spPr/>
        <p:txBody>
          <a:bodyPr/>
          <a:lstStyle/>
          <a:p>
            <a:endParaRPr lang="en-GB"/>
          </a:p>
        </p:txBody>
      </p:sp>
      <p:sp>
        <p:nvSpPr>
          <p:cNvPr id="8" name="Marcador de texto 7">
            <a:extLst>
              <a:ext uri="{FF2B5EF4-FFF2-40B4-BE49-F238E27FC236}">
                <a16:creationId xmlns:a16="http://schemas.microsoft.com/office/drawing/2014/main" id="{C5703D48-DD0E-7FB0-F8A5-299AD5900DB4}"/>
              </a:ext>
            </a:extLst>
          </p:cNvPr>
          <p:cNvSpPr>
            <a:spLocks noGrp="1"/>
          </p:cNvSpPr>
          <p:nvPr>
            <p:ph type="body" sz="quarter" idx="16"/>
          </p:nvPr>
        </p:nvSpPr>
        <p:spPr/>
        <p:txBody>
          <a:bodyPr/>
          <a:lstStyle/>
          <a:p>
            <a:endParaRPr lang="en-GB"/>
          </a:p>
        </p:txBody>
      </p:sp>
      <p:sp>
        <p:nvSpPr>
          <p:cNvPr id="11" name="Marcador de texto 10">
            <a:extLst>
              <a:ext uri="{FF2B5EF4-FFF2-40B4-BE49-F238E27FC236}">
                <a16:creationId xmlns:a16="http://schemas.microsoft.com/office/drawing/2014/main" id="{EFAE3E8D-0040-88F3-39F3-C44688516D37}"/>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2231297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66FBA98C-63B0-0EFD-E40C-4EE28CE5298E}"/>
              </a:ext>
            </a:extLst>
          </p:cNvPr>
          <p:cNvSpPr>
            <a:spLocks noGrp="1"/>
          </p:cNvSpPr>
          <p:nvPr>
            <p:ph type="body" sz="quarter" idx="24"/>
          </p:nvPr>
        </p:nvSpPr>
        <p:spPr/>
        <p:txBody>
          <a:bodyPr/>
          <a:lstStyle/>
          <a:p>
            <a:endParaRPr lang="en-GB"/>
          </a:p>
        </p:txBody>
      </p:sp>
      <p:sp>
        <p:nvSpPr>
          <p:cNvPr id="3" name="Marcador de pie de página 2">
            <a:extLst>
              <a:ext uri="{FF2B5EF4-FFF2-40B4-BE49-F238E27FC236}">
                <a16:creationId xmlns:a16="http://schemas.microsoft.com/office/drawing/2014/main" id="{F58D49C1-825F-1E1F-C4B5-A03E07FF5558}"/>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50705927-D713-ED77-84DD-A1E2C4E0AA69}"/>
              </a:ext>
            </a:extLst>
          </p:cNvPr>
          <p:cNvSpPr>
            <a:spLocks noGrp="1"/>
          </p:cNvSpPr>
          <p:nvPr>
            <p:ph type="sldNum" sz="quarter" idx="12"/>
          </p:nvPr>
        </p:nvSpPr>
        <p:spPr/>
        <p:txBody>
          <a:bodyPr/>
          <a:lstStyle/>
          <a:p>
            <a:fld id="{FF2CED2D-DE01-CB40-AEF5-C9DD7CD06225}" type="slidenum">
              <a:rPr lang="es-ES" smtClean="0"/>
              <a:t>33</a:t>
            </a:fld>
            <a:endParaRPr lang="es-ES"/>
          </a:p>
        </p:txBody>
      </p:sp>
      <p:sp>
        <p:nvSpPr>
          <p:cNvPr id="5" name="Marcador de texto 4">
            <a:extLst>
              <a:ext uri="{FF2B5EF4-FFF2-40B4-BE49-F238E27FC236}">
                <a16:creationId xmlns:a16="http://schemas.microsoft.com/office/drawing/2014/main" id="{7E7BD431-DC16-B17C-9B37-D8C1041676E1}"/>
              </a:ext>
            </a:extLst>
          </p:cNvPr>
          <p:cNvSpPr>
            <a:spLocks noGrp="1"/>
          </p:cNvSpPr>
          <p:nvPr>
            <p:ph type="body" sz="quarter" idx="13"/>
          </p:nvPr>
        </p:nvSpPr>
        <p:spPr/>
        <p:txBody>
          <a:bodyPr/>
          <a:lstStyle/>
          <a:p>
            <a:endParaRPr lang="en-GB"/>
          </a:p>
        </p:txBody>
      </p:sp>
      <p:sp>
        <p:nvSpPr>
          <p:cNvPr id="6" name="Marcador de posición de imagen 5">
            <a:extLst>
              <a:ext uri="{FF2B5EF4-FFF2-40B4-BE49-F238E27FC236}">
                <a16:creationId xmlns:a16="http://schemas.microsoft.com/office/drawing/2014/main" id="{4E553AF0-9EF6-1FC0-13FA-31600E7606D9}"/>
              </a:ext>
            </a:extLst>
          </p:cNvPr>
          <p:cNvSpPr>
            <a:spLocks noGrp="1"/>
          </p:cNvSpPr>
          <p:nvPr>
            <p:ph type="pic" sz="quarter" idx="15"/>
          </p:nvPr>
        </p:nvSpPr>
        <p:spPr/>
        <p:txBody>
          <a:bodyPr/>
          <a:lstStyle/>
          <a:p>
            <a:endParaRPr lang="en-GB"/>
          </a:p>
        </p:txBody>
      </p:sp>
      <p:sp>
        <p:nvSpPr>
          <p:cNvPr id="7" name="Marcador de texto 6">
            <a:extLst>
              <a:ext uri="{FF2B5EF4-FFF2-40B4-BE49-F238E27FC236}">
                <a16:creationId xmlns:a16="http://schemas.microsoft.com/office/drawing/2014/main" id="{5A0F8CD5-4277-B831-F03C-F992DE0D9278}"/>
              </a:ext>
            </a:extLst>
          </p:cNvPr>
          <p:cNvSpPr>
            <a:spLocks noGrp="1"/>
          </p:cNvSpPr>
          <p:nvPr>
            <p:ph type="body" sz="quarter" idx="18"/>
          </p:nvPr>
        </p:nvSpPr>
        <p:spPr/>
        <p:txBody>
          <a:bodyPr/>
          <a:lstStyle/>
          <a:p>
            <a:endParaRPr lang="en-GB"/>
          </a:p>
        </p:txBody>
      </p:sp>
      <p:sp>
        <p:nvSpPr>
          <p:cNvPr id="8" name="Marcador de posición de imagen 7">
            <a:extLst>
              <a:ext uri="{FF2B5EF4-FFF2-40B4-BE49-F238E27FC236}">
                <a16:creationId xmlns:a16="http://schemas.microsoft.com/office/drawing/2014/main" id="{5FEB63C3-354A-9BAF-BE35-FF16AE955060}"/>
              </a:ext>
            </a:extLst>
          </p:cNvPr>
          <p:cNvSpPr>
            <a:spLocks noGrp="1"/>
          </p:cNvSpPr>
          <p:nvPr>
            <p:ph type="pic" sz="quarter" idx="19"/>
          </p:nvPr>
        </p:nvSpPr>
        <p:spPr/>
        <p:txBody>
          <a:bodyPr/>
          <a:lstStyle/>
          <a:p>
            <a:endParaRPr lang="en-GB"/>
          </a:p>
        </p:txBody>
      </p:sp>
      <p:sp>
        <p:nvSpPr>
          <p:cNvPr id="9" name="Marcador de texto 8">
            <a:extLst>
              <a:ext uri="{FF2B5EF4-FFF2-40B4-BE49-F238E27FC236}">
                <a16:creationId xmlns:a16="http://schemas.microsoft.com/office/drawing/2014/main" id="{964FF113-B8E9-CCFF-B0E6-2DC854D27B4C}"/>
              </a:ext>
            </a:extLst>
          </p:cNvPr>
          <p:cNvSpPr>
            <a:spLocks noGrp="1"/>
          </p:cNvSpPr>
          <p:nvPr>
            <p:ph type="body" sz="quarter" idx="21"/>
          </p:nvPr>
        </p:nvSpPr>
        <p:spPr/>
        <p:txBody>
          <a:bodyPr/>
          <a:lstStyle/>
          <a:p>
            <a:endParaRPr lang="en-GB"/>
          </a:p>
        </p:txBody>
      </p:sp>
      <p:sp>
        <p:nvSpPr>
          <p:cNvPr id="10" name="Marcador de posición de imagen 9">
            <a:extLst>
              <a:ext uri="{FF2B5EF4-FFF2-40B4-BE49-F238E27FC236}">
                <a16:creationId xmlns:a16="http://schemas.microsoft.com/office/drawing/2014/main" id="{7A00AF9A-A73E-DD13-198D-AED0469D87F8}"/>
              </a:ext>
            </a:extLst>
          </p:cNvPr>
          <p:cNvSpPr>
            <a:spLocks noGrp="1"/>
          </p:cNvSpPr>
          <p:nvPr>
            <p:ph type="pic" sz="quarter" idx="22"/>
          </p:nvPr>
        </p:nvSpPr>
        <p:spPr/>
        <p:txBody>
          <a:bodyPr/>
          <a:lstStyle/>
          <a:p>
            <a:endParaRPr lang="en-GB"/>
          </a:p>
        </p:txBody>
      </p:sp>
      <p:sp>
        <p:nvSpPr>
          <p:cNvPr id="11" name="Marcador de texto 10">
            <a:extLst>
              <a:ext uri="{FF2B5EF4-FFF2-40B4-BE49-F238E27FC236}">
                <a16:creationId xmlns:a16="http://schemas.microsoft.com/office/drawing/2014/main" id="{94A8FF9E-5BEC-1009-2087-64EF57989D94}"/>
              </a:ext>
            </a:extLst>
          </p:cNvPr>
          <p:cNvSpPr>
            <a:spLocks noGrp="1"/>
          </p:cNvSpPr>
          <p:nvPr>
            <p:ph type="body" sz="quarter" idx="25"/>
          </p:nvPr>
        </p:nvSpPr>
        <p:spPr/>
        <p:txBody>
          <a:bodyPr/>
          <a:lstStyle/>
          <a:p>
            <a:endParaRPr lang="en-GB"/>
          </a:p>
        </p:txBody>
      </p:sp>
      <p:sp>
        <p:nvSpPr>
          <p:cNvPr id="12" name="Marcador de texto 11">
            <a:extLst>
              <a:ext uri="{FF2B5EF4-FFF2-40B4-BE49-F238E27FC236}">
                <a16:creationId xmlns:a16="http://schemas.microsoft.com/office/drawing/2014/main" id="{3D35C148-7DDF-7A41-E47D-97EBFB6D4C5A}"/>
              </a:ext>
            </a:extLst>
          </p:cNvPr>
          <p:cNvSpPr>
            <a:spLocks noGrp="1"/>
          </p:cNvSpPr>
          <p:nvPr>
            <p:ph type="body" sz="quarter" idx="26"/>
          </p:nvPr>
        </p:nvSpPr>
        <p:spPr/>
        <p:txBody>
          <a:bodyPr/>
          <a:lstStyle/>
          <a:p>
            <a:endParaRPr lang="en-GB"/>
          </a:p>
        </p:txBody>
      </p:sp>
    </p:spTree>
    <p:extLst>
      <p:ext uri="{BB962C8B-B14F-4D97-AF65-F5344CB8AC3E}">
        <p14:creationId xmlns:p14="http://schemas.microsoft.com/office/powerpoint/2010/main" val="27707813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2D835717-0D05-7037-E3B5-54219C88D38F}"/>
              </a:ext>
            </a:extLst>
          </p:cNvPr>
          <p:cNvSpPr>
            <a:spLocks noGrp="1"/>
          </p:cNvSpPr>
          <p:nvPr>
            <p:ph type="body" sz="quarter" idx="27"/>
          </p:nvPr>
        </p:nvSpPr>
        <p:spPr/>
        <p:txBody>
          <a:bodyPr/>
          <a:lstStyle/>
          <a:p>
            <a:endParaRPr lang="en-GB"/>
          </a:p>
        </p:txBody>
      </p:sp>
      <p:sp>
        <p:nvSpPr>
          <p:cNvPr id="3" name="Marcador de pie de página 2">
            <a:extLst>
              <a:ext uri="{FF2B5EF4-FFF2-40B4-BE49-F238E27FC236}">
                <a16:creationId xmlns:a16="http://schemas.microsoft.com/office/drawing/2014/main" id="{99CCA680-B7CA-5090-3B52-2F1C2EC7DA48}"/>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6661340C-953C-DD66-9140-CCCC398DFFAE}"/>
              </a:ext>
            </a:extLst>
          </p:cNvPr>
          <p:cNvSpPr>
            <a:spLocks noGrp="1"/>
          </p:cNvSpPr>
          <p:nvPr>
            <p:ph type="sldNum" sz="quarter" idx="12"/>
          </p:nvPr>
        </p:nvSpPr>
        <p:spPr/>
        <p:txBody>
          <a:bodyPr/>
          <a:lstStyle/>
          <a:p>
            <a:fld id="{FF2CED2D-DE01-CB40-AEF5-C9DD7CD06225}" type="slidenum">
              <a:rPr lang="es-ES" smtClean="0"/>
              <a:t>34</a:t>
            </a:fld>
            <a:endParaRPr lang="es-ES"/>
          </a:p>
        </p:txBody>
      </p:sp>
      <p:sp>
        <p:nvSpPr>
          <p:cNvPr id="5" name="Marcador de texto 4">
            <a:extLst>
              <a:ext uri="{FF2B5EF4-FFF2-40B4-BE49-F238E27FC236}">
                <a16:creationId xmlns:a16="http://schemas.microsoft.com/office/drawing/2014/main" id="{118900C9-068C-7395-7594-3E018C1A418C}"/>
              </a:ext>
            </a:extLst>
          </p:cNvPr>
          <p:cNvSpPr>
            <a:spLocks noGrp="1"/>
          </p:cNvSpPr>
          <p:nvPr>
            <p:ph type="body" sz="quarter" idx="13"/>
          </p:nvPr>
        </p:nvSpPr>
        <p:spPr/>
        <p:txBody>
          <a:bodyPr/>
          <a:lstStyle/>
          <a:p>
            <a:endParaRPr lang="en-GB"/>
          </a:p>
        </p:txBody>
      </p:sp>
      <p:sp>
        <p:nvSpPr>
          <p:cNvPr id="6" name="Marcador de posición de imagen 5">
            <a:extLst>
              <a:ext uri="{FF2B5EF4-FFF2-40B4-BE49-F238E27FC236}">
                <a16:creationId xmlns:a16="http://schemas.microsoft.com/office/drawing/2014/main" id="{F28D5192-2F23-F33C-0B96-93E19E96A979}"/>
              </a:ext>
            </a:extLst>
          </p:cNvPr>
          <p:cNvSpPr>
            <a:spLocks noGrp="1"/>
          </p:cNvSpPr>
          <p:nvPr>
            <p:ph type="pic" sz="quarter" idx="15"/>
          </p:nvPr>
        </p:nvSpPr>
        <p:spPr/>
        <p:txBody>
          <a:bodyPr/>
          <a:lstStyle/>
          <a:p>
            <a:endParaRPr lang="en-GB"/>
          </a:p>
        </p:txBody>
      </p:sp>
      <p:sp>
        <p:nvSpPr>
          <p:cNvPr id="7" name="Marcador de texto 6">
            <a:extLst>
              <a:ext uri="{FF2B5EF4-FFF2-40B4-BE49-F238E27FC236}">
                <a16:creationId xmlns:a16="http://schemas.microsoft.com/office/drawing/2014/main" id="{4867D617-A60F-64B1-8247-CA056F3ECB9C}"/>
              </a:ext>
            </a:extLst>
          </p:cNvPr>
          <p:cNvSpPr>
            <a:spLocks noGrp="1"/>
          </p:cNvSpPr>
          <p:nvPr>
            <p:ph type="body" sz="quarter" idx="18"/>
          </p:nvPr>
        </p:nvSpPr>
        <p:spPr/>
        <p:txBody>
          <a:bodyPr/>
          <a:lstStyle/>
          <a:p>
            <a:endParaRPr lang="en-GB"/>
          </a:p>
        </p:txBody>
      </p:sp>
      <p:sp>
        <p:nvSpPr>
          <p:cNvPr id="8" name="Marcador de posición de imagen 7">
            <a:extLst>
              <a:ext uri="{FF2B5EF4-FFF2-40B4-BE49-F238E27FC236}">
                <a16:creationId xmlns:a16="http://schemas.microsoft.com/office/drawing/2014/main" id="{47215AF7-5E87-B1CE-0CAD-B03EB23232D1}"/>
              </a:ext>
            </a:extLst>
          </p:cNvPr>
          <p:cNvSpPr>
            <a:spLocks noGrp="1"/>
          </p:cNvSpPr>
          <p:nvPr>
            <p:ph type="pic" sz="quarter" idx="20"/>
          </p:nvPr>
        </p:nvSpPr>
        <p:spPr/>
        <p:txBody>
          <a:bodyPr/>
          <a:lstStyle/>
          <a:p>
            <a:endParaRPr lang="en-GB"/>
          </a:p>
        </p:txBody>
      </p:sp>
      <p:sp>
        <p:nvSpPr>
          <p:cNvPr id="9" name="Marcador de texto 8">
            <a:extLst>
              <a:ext uri="{FF2B5EF4-FFF2-40B4-BE49-F238E27FC236}">
                <a16:creationId xmlns:a16="http://schemas.microsoft.com/office/drawing/2014/main" id="{579B1409-F5C7-F03C-6039-8275686DBC19}"/>
              </a:ext>
            </a:extLst>
          </p:cNvPr>
          <p:cNvSpPr>
            <a:spLocks noGrp="1"/>
          </p:cNvSpPr>
          <p:nvPr>
            <p:ph type="body" sz="quarter" idx="21"/>
          </p:nvPr>
        </p:nvSpPr>
        <p:spPr/>
        <p:txBody>
          <a:bodyPr/>
          <a:lstStyle/>
          <a:p>
            <a:endParaRPr lang="en-GB"/>
          </a:p>
        </p:txBody>
      </p:sp>
      <p:sp>
        <p:nvSpPr>
          <p:cNvPr id="10" name="Marcador de posición de imagen 9">
            <a:extLst>
              <a:ext uri="{FF2B5EF4-FFF2-40B4-BE49-F238E27FC236}">
                <a16:creationId xmlns:a16="http://schemas.microsoft.com/office/drawing/2014/main" id="{42D338E8-653E-42FE-BF0F-B5EDF1EC6FA6}"/>
              </a:ext>
            </a:extLst>
          </p:cNvPr>
          <p:cNvSpPr>
            <a:spLocks noGrp="1"/>
          </p:cNvSpPr>
          <p:nvPr>
            <p:ph type="pic" sz="quarter" idx="23"/>
          </p:nvPr>
        </p:nvSpPr>
        <p:spPr/>
        <p:txBody>
          <a:bodyPr/>
          <a:lstStyle/>
          <a:p>
            <a:endParaRPr lang="en-GB"/>
          </a:p>
        </p:txBody>
      </p:sp>
      <p:sp>
        <p:nvSpPr>
          <p:cNvPr id="11" name="Marcador de texto 10">
            <a:extLst>
              <a:ext uri="{FF2B5EF4-FFF2-40B4-BE49-F238E27FC236}">
                <a16:creationId xmlns:a16="http://schemas.microsoft.com/office/drawing/2014/main" id="{37EB29BD-F507-BEBF-1F7C-344E07546734}"/>
              </a:ext>
            </a:extLst>
          </p:cNvPr>
          <p:cNvSpPr>
            <a:spLocks noGrp="1"/>
          </p:cNvSpPr>
          <p:nvPr>
            <p:ph type="body" sz="quarter" idx="24"/>
          </p:nvPr>
        </p:nvSpPr>
        <p:spPr/>
        <p:txBody>
          <a:bodyPr/>
          <a:lstStyle/>
          <a:p>
            <a:endParaRPr lang="en-GB"/>
          </a:p>
        </p:txBody>
      </p:sp>
      <p:sp>
        <p:nvSpPr>
          <p:cNvPr id="12" name="Marcador de posición de imagen 11">
            <a:extLst>
              <a:ext uri="{FF2B5EF4-FFF2-40B4-BE49-F238E27FC236}">
                <a16:creationId xmlns:a16="http://schemas.microsoft.com/office/drawing/2014/main" id="{CC4D4D7F-2F5C-2791-F78E-4CD013842B45}"/>
              </a:ext>
            </a:extLst>
          </p:cNvPr>
          <p:cNvSpPr>
            <a:spLocks noGrp="1"/>
          </p:cNvSpPr>
          <p:nvPr>
            <p:ph type="pic" sz="quarter" idx="26"/>
          </p:nvPr>
        </p:nvSpPr>
        <p:spPr/>
        <p:txBody>
          <a:bodyPr/>
          <a:lstStyle/>
          <a:p>
            <a:endParaRPr lang="en-GB"/>
          </a:p>
        </p:txBody>
      </p:sp>
      <p:sp>
        <p:nvSpPr>
          <p:cNvPr id="13" name="Marcador de texto 12">
            <a:extLst>
              <a:ext uri="{FF2B5EF4-FFF2-40B4-BE49-F238E27FC236}">
                <a16:creationId xmlns:a16="http://schemas.microsoft.com/office/drawing/2014/main" id="{962229F0-7DF1-11B3-889E-8DC85C8C1F27}"/>
              </a:ext>
            </a:extLst>
          </p:cNvPr>
          <p:cNvSpPr>
            <a:spLocks noGrp="1"/>
          </p:cNvSpPr>
          <p:nvPr>
            <p:ph type="body" sz="quarter" idx="28"/>
          </p:nvPr>
        </p:nvSpPr>
        <p:spPr/>
        <p:txBody>
          <a:bodyPr/>
          <a:lstStyle/>
          <a:p>
            <a:endParaRPr lang="en-GB"/>
          </a:p>
        </p:txBody>
      </p:sp>
      <p:sp>
        <p:nvSpPr>
          <p:cNvPr id="14" name="Marcador de texto 13">
            <a:extLst>
              <a:ext uri="{FF2B5EF4-FFF2-40B4-BE49-F238E27FC236}">
                <a16:creationId xmlns:a16="http://schemas.microsoft.com/office/drawing/2014/main" id="{7ED8E881-21A0-2536-B225-BE76746F646F}"/>
              </a:ext>
            </a:extLst>
          </p:cNvPr>
          <p:cNvSpPr>
            <a:spLocks noGrp="1"/>
          </p:cNvSpPr>
          <p:nvPr>
            <p:ph type="body" sz="quarter" idx="29"/>
          </p:nvPr>
        </p:nvSpPr>
        <p:spPr/>
        <p:txBody>
          <a:bodyPr/>
          <a:lstStyle/>
          <a:p>
            <a:endParaRPr lang="en-GB"/>
          </a:p>
        </p:txBody>
      </p:sp>
      <p:sp>
        <p:nvSpPr>
          <p:cNvPr id="15" name="Marcador de texto 14">
            <a:extLst>
              <a:ext uri="{FF2B5EF4-FFF2-40B4-BE49-F238E27FC236}">
                <a16:creationId xmlns:a16="http://schemas.microsoft.com/office/drawing/2014/main" id="{8822BCC4-B979-0A0E-4883-8FD407F47D0A}"/>
              </a:ext>
            </a:extLst>
          </p:cNvPr>
          <p:cNvSpPr>
            <a:spLocks noGrp="1"/>
          </p:cNvSpPr>
          <p:nvPr>
            <p:ph type="body" sz="quarter" idx="30"/>
          </p:nvPr>
        </p:nvSpPr>
        <p:spPr/>
        <p:txBody>
          <a:bodyPr/>
          <a:lstStyle/>
          <a:p>
            <a:endParaRPr lang="en-GB"/>
          </a:p>
        </p:txBody>
      </p:sp>
    </p:spTree>
    <p:extLst>
      <p:ext uri="{BB962C8B-B14F-4D97-AF65-F5344CB8AC3E}">
        <p14:creationId xmlns:p14="http://schemas.microsoft.com/office/powerpoint/2010/main" val="9666163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9C09FFEE-1E07-AA30-BFFC-7DCDCCB80D23}"/>
              </a:ext>
            </a:extLst>
          </p:cNvPr>
          <p:cNvSpPr>
            <a:spLocks noGrp="1"/>
          </p:cNvSpPr>
          <p:nvPr>
            <p:ph type="body" sz="quarter" idx="27"/>
          </p:nvPr>
        </p:nvSpPr>
        <p:spPr/>
        <p:txBody>
          <a:bodyPr/>
          <a:lstStyle/>
          <a:p>
            <a:endParaRPr lang="en-GB"/>
          </a:p>
        </p:txBody>
      </p:sp>
      <p:sp>
        <p:nvSpPr>
          <p:cNvPr id="3" name="Marcador de pie de página 2">
            <a:extLst>
              <a:ext uri="{FF2B5EF4-FFF2-40B4-BE49-F238E27FC236}">
                <a16:creationId xmlns:a16="http://schemas.microsoft.com/office/drawing/2014/main" id="{CCCBF889-7E48-8AC7-768F-D17781A05469}"/>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187915EB-FA86-6A27-6E46-C8A4659251DC}"/>
              </a:ext>
            </a:extLst>
          </p:cNvPr>
          <p:cNvSpPr>
            <a:spLocks noGrp="1"/>
          </p:cNvSpPr>
          <p:nvPr>
            <p:ph type="sldNum" sz="quarter" idx="12"/>
          </p:nvPr>
        </p:nvSpPr>
        <p:spPr/>
        <p:txBody>
          <a:bodyPr/>
          <a:lstStyle/>
          <a:p>
            <a:fld id="{FF2CED2D-DE01-CB40-AEF5-C9DD7CD06225}" type="slidenum">
              <a:rPr lang="es-ES" smtClean="0"/>
              <a:t>35</a:t>
            </a:fld>
            <a:endParaRPr lang="es-ES"/>
          </a:p>
        </p:txBody>
      </p:sp>
      <p:sp>
        <p:nvSpPr>
          <p:cNvPr id="5" name="Marcador de texto 4">
            <a:extLst>
              <a:ext uri="{FF2B5EF4-FFF2-40B4-BE49-F238E27FC236}">
                <a16:creationId xmlns:a16="http://schemas.microsoft.com/office/drawing/2014/main" id="{34A7C16F-B568-D6B7-5358-8A4A9DDC97BC}"/>
              </a:ext>
            </a:extLst>
          </p:cNvPr>
          <p:cNvSpPr>
            <a:spLocks noGrp="1"/>
          </p:cNvSpPr>
          <p:nvPr>
            <p:ph type="body" sz="quarter" idx="13"/>
          </p:nvPr>
        </p:nvSpPr>
        <p:spPr/>
        <p:txBody>
          <a:bodyPr/>
          <a:lstStyle/>
          <a:p>
            <a:endParaRPr lang="en-GB"/>
          </a:p>
        </p:txBody>
      </p:sp>
      <p:sp>
        <p:nvSpPr>
          <p:cNvPr id="6" name="Marcador de posición de imagen 5">
            <a:extLst>
              <a:ext uri="{FF2B5EF4-FFF2-40B4-BE49-F238E27FC236}">
                <a16:creationId xmlns:a16="http://schemas.microsoft.com/office/drawing/2014/main" id="{920603EB-3279-90B6-9CEC-E39DF375C767}"/>
              </a:ext>
            </a:extLst>
          </p:cNvPr>
          <p:cNvSpPr>
            <a:spLocks noGrp="1"/>
          </p:cNvSpPr>
          <p:nvPr>
            <p:ph type="pic" sz="quarter" idx="15"/>
          </p:nvPr>
        </p:nvSpPr>
        <p:spPr/>
        <p:txBody>
          <a:bodyPr/>
          <a:lstStyle/>
          <a:p>
            <a:endParaRPr lang="en-GB"/>
          </a:p>
        </p:txBody>
      </p:sp>
      <p:sp>
        <p:nvSpPr>
          <p:cNvPr id="7" name="Marcador de texto 6">
            <a:extLst>
              <a:ext uri="{FF2B5EF4-FFF2-40B4-BE49-F238E27FC236}">
                <a16:creationId xmlns:a16="http://schemas.microsoft.com/office/drawing/2014/main" id="{7A464D5D-7DBF-040F-C697-B14B803FC4FF}"/>
              </a:ext>
            </a:extLst>
          </p:cNvPr>
          <p:cNvSpPr>
            <a:spLocks noGrp="1"/>
          </p:cNvSpPr>
          <p:nvPr>
            <p:ph type="body" sz="quarter" idx="18"/>
          </p:nvPr>
        </p:nvSpPr>
        <p:spPr/>
        <p:txBody>
          <a:bodyPr/>
          <a:lstStyle/>
          <a:p>
            <a:endParaRPr lang="en-GB"/>
          </a:p>
        </p:txBody>
      </p:sp>
      <p:sp>
        <p:nvSpPr>
          <p:cNvPr id="8" name="Marcador de posición de imagen 7">
            <a:extLst>
              <a:ext uri="{FF2B5EF4-FFF2-40B4-BE49-F238E27FC236}">
                <a16:creationId xmlns:a16="http://schemas.microsoft.com/office/drawing/2014/main" id="{BA87DB2A-32C2-A729-43E9-FD027FBB9BDF}"/>
              </a:ext>
            </a:extLst>
          </p:cNvPr>
          <p:cNvSpPr>
            <a:spLocks noGrp="1"/>
          </p:cNvSpPr>
          <p:nvPr>
            <p:ph type="pic" sz="quarter" idx="20"/>
          </p:nvPr>
        </p:nvSpPr>
        <p:spPr/>
        <p:txBody>
          <a:bodyPr/>
          <a:lstStyle/>
          <a:p>
            <a:endParaRPr lang="en-GB"/>
          </a:p>
        </p:txBody>
      </p:sp>
      <p:sp>
        <p:nvSpPr>
          <p:cNvPr id="9" name="Marcador de texto 8">
            <a:extLst>
              <a:ext uri="{FF2B5EF4-FFF2-40B4-BE49-F238E27FC236}">
                <a16:creationId xmlns:a16="http://schemas.microsoft.com/office/drawing/2014/main" id="{5E2E6F76-220C-6F10-564E-50C1F6B79349}"/>
              </a:ext>
            </a:extLst>
          </p:cNvPr>
          <p:cNvSpPr>
            <a:spLocks noGrp="1"/>
          </p:cNvSpPr>
          <p:nvPr>
            <p:ph type="body" sz="quarter" idx="21"/>
          </p:nvPr>
        </p:nvSpPr>
        <p:spPr/>
        <p:txBody>
          <a:bodyPr/>
          <a:lstStyle/>
          <a:p>
            <a:endParaRPr lang="en-GB"/>
          </a:p>
        </p:txBody>
      </p:sp>
      <p:sp>
        <p:nvSpPr>
          <p:cNvPr id="10" name="Marcador de posición de imagen 9">
            <a:extLst>
              <a:ext uri="{FF2B5EF4-FFF2-40B4-BE49-F238E27FC236}">
                <a16:creationId xmlns:a16="http://schemas.microsoft.com/office/drawing/2014/main" id="{7AD0FA31-F000-6D39-2C4A-3660A025036C}"/>
              </a:ext>
            </a:extLst>
          </p:cNvPr>
          <p:cNvSpPr>
            <a:spLocks noGrp="1"/>
          </p:cNvSpPr>
          <p:nvPr>
            <p:ph type="pic" sz="quarter" idx="23"/>
          </p:nvPr>
        </p:nvSpPr>
        <p:spPr/>
        <p:txBody>
          <a:bodyPr/>
          <a:lstStyle/>
          <a:p>
            <a:endParaRPr lang="en-GB"/>
          </a:p>
        </p:txBody>
      </p:sp>
      <p:sp>
        <p:nvSpPr>
          <p:cNvPr id="11" name="Marcador de texto 10">
            <a:extLst>
              <a:ext uri="{FF2B5EF4-FFF2-40B4-BE49-F238E27FC236}">
                <a16:creationId xmlns:a16="http://schemas.microsoft.com/office/drawing/2014/main" id="{CFD9A604-575E-05B0-98C4-4819FA09381E}"/>
              </a:ext>
            </a:extLst>
          </p:cNvPr>
          <p:cNvSpPr>
            <a:spLocks noGrp="1"/>
          </p:cNvSpPr>
          <p:nvPr>
            <p:ph type="body" sz="quarter" idx="24"/>
          </p:nvPr>
        </p:nvSpPr>
        <p:spPr/>
        <p:txBody>
          <a:bodyPr/>
          <a:lstStyle/>
          <a:p>
            <a:endParaRPr lang="en-GB"/>
          </a:p>
        </p:txBody>
      </p:sp>
      <p:sp>
        <p:nvSpPr>
          <p:cNvPr id="12" name="Marcador de posición de imagen 11">
            <a:extLst>
              <a:ext uri="{FF2B5EF4-FFF2-40B4-BE49-F238E27FC236}">
                <a16:creationId xmlns:a16="http://schemas.microsoft.com/office/drawing/2014/main" id="{7369C96D-EB85-4371-73C8-239FF3086181}"/>
              </a:ext>
            </a:extLst>
          </p:cNvPr>
          <p:cNvSpPr>
            <a:spLocks noGrp="1"/>
          </p:cNvSpPr>
          <p:nvPr>
            <p:ph type="pic" sz="quarter" idx="26"/>
          </p:nvPr>
        </p:nvSpPr>
        <p:spPr/>
        <p:txBody>
          <a:bodyPr/>
          <a:lstStyle/>
          <a:p>
            <a:endParaRPr lang="en-GB"/>
          </a:p>
        </p:txBody>
      </p:sp>
      <p:sp>
        <p:nvSpPr>
          <p:cNvPr id="13" name="Marcador de texto 12">
            <a:extLst>
              <a:ext uri="{FF2B5EF4-FFF2-40B4-BE49-F238E27FC236}">
                <a16:creationId xmlns:a16="http://schemas.microsoft.com/office/drawing/2014/main" id="{FFE8C8C8-6D9B-9C4A-DDD5-1A607DF0C1BF}"/>
              </a:ext>
            </a:extLst>
          </p:cNvPr>
          <p:cNvSpPr>
            <a:spLocks noGrp="1"/>
          </p:cNvSpPr>
          <p:nvPr>
            <p:ph type="body" sz="quarter" idx="28"/>
          </p:nvPr>
        </p:nvSpPr>
        <p:spPr/>
        <p:txBody>
          <a:bodyPr/>
          <a:lstStyle/>
          <a:p>
            <a:endParaRPr lang="en-GB"/>
          </a:p>
        </p:txBody>
      </p:sp>
      <p:sp>
        <p:nvSpPr>
          <p:cNvPr id="14" name="Marcador de texto 13">
            <a:extLst>
              <a:ext uri="{FF2B5EF4-FFF2-40B4-BE49-F238E27FC236}">
                <a16:creationId xmlns:a16="http://schemas.microsoft.com/office/drawing/2014/main" id="{2473E9A3-66BF-EC7B-9F16-1B48AC30F8CD}"/>
              </a:ext>
            </a:extLst>
          </p:cNvPr>
          <p:cNvSpPr>
            <a:spLocks noGrp="1"/>
          </p:cNvSpPr>
          <p:nvPr>
            <p:ph type="body" sz="quarter" idx="29"/>
          </p:nvPr>
        </p:nvSpPr>
        <p:spPr/>
        <p:txBody>
          <a:bodyPr/>
          <a:lstStyle/>
          <a:p>
            <a:endParaRPr lang="en-GB"/>
          </a:p>
        </p:txBody>
      </p:sp>
      <p:sp>
        <p:nvSpPr>
          <p:cNvPr id="15" name="Marcador de texto 14">
            <a:extLst>
              <a:ext uri="{FF2B5EF4-FFF2-40B4-BE49-F238E27FC236}">
                <a16:creationId xmlns:a16="http://schemas.microsoft.com/office/drawing/2014/main" id="{93EAA21E-BD3F-988C-9290-76903C1C4C96}"/>
              </a:ext>
            </a:extLst>
          </p:cNvPr>
          <p:cNvSpPr>
            <a:spLocks noGrp="1"/>
          </p:cNvSpPr>
          <p:nvPr>
            <p:ph type="body" sz="quarter" idx="30"/>
          </p:nvPr>
        </p:nvSpPr>
        <p:spPr/>
        <p:txBody>
          <a:bodyPr/>
          <a:lstStyle/>
          <a:p>
            <a:endParaRPr lang="en-GB"/>
          </a:p>
        </p:txBody>
      </p:sp>
      <p:sp>
        <p:nvSpPr>
          <p:cNvPr id="16" name="Marcador de texto 15">
            <a:extLst>
              <a:ext uri="{FF2B5EF4-FFF2-40B4-BE49-F238E27FC236}">
                <a16:creationId xmlns:a16="http://schemas.microsoft.com/office/drawing/2014/main" id="{F25920AD-AB74-25FC-A17F-7338BEDAE3B7}"/>
              </a:ext>
            </a:extLst>
          </p:cNvPr>
          <p:cNvSpPr>
            <a:spLocks noGrp="1"/>
          </p:cNvSpPr>
          <p:nvPr>
            <p:ph type="body" sz="quarter" idx="31"/>
          </p:nvPr>
        </p:nvSpPr>
        <p:spPr/>
        <p:txBody>
          <a:bodyPr/>
          <a:lstStyle/>
          <a:p>
            <a:endParaRPr lang="en-GB"/>
          </a:p>
        </p:txBody>
      </p:sp>
      <p:sp>
        <p:nvSpPr>
          <p:cNvPr id="17" name="Marcador de posición de imagen 16">
            <a:extLst>
              <a:ext uri="{FF2B5EF4-FFF2-40B4-BE49-F238E27FC236}">
                <a16:creationId xmlns:a16="http://schemas.microsoft.com/office/drawing/2014/main" id="{D4CCA26D-2C13-A9C9-595B-31114B86F128}"/>
              </a:ext>
            </a:extLst>
          </p:cNvPr>
          <p:cNvSpPr>
            <a:spLocks noGrp="1"/>
          </p:cNvSpPr>
          <p:nvPr>
            <p:ph type="pic" sz="quarter" idx="32"/>
          </p:nvPr>
        </p:nvSpPr>
        <p:spPr/>
        <p:txBody>
          <a:bodyPr/>
          <a:lstStyle/>
          <a:p>
            <a:endParaRPr lang="en-GB"/>
          </a:p>
        </p:txBody>
      </p:sp>
      <p:sp>
        <p:nvSpPr>
          <p:cNvPr id="18" name="Marcador de texto 17">
            <a:extLst>
              <a:ext uri="{FF2B5EF4-FFF2-40B4-BE49-F238E27FC236}">
                <a16:creationId xmlns:a16="http://schemas.microsoft.com/office/drawing/2014/main" id="{7D02332C-F91B-444E-397B-995646C1F567}"/>
              </a:ext>
            </a:extLst>
          </p:cNvPr>
          <p:cNvSpPr>
            <a:spLocks noGrp="1"/>
          </p:cNvSpPr>
          <p:nvPr>
            <p:ph type="body" sz="quarter" idx="33"/>
          </p:nvPr>
        </p:nvSpPr>
        <p:spPr/>
        <p:txBody>
          <a:bodyPr/>
          <a:lstStyle/>
          <a:p>
            <a:endParaRPr lang="en-GB"/>
          </a:p>
        </p:txBody>
      </p:sp>
      <p:sp>
        <p:nvSpPr>
          <p:cNvPr id="19" name="Marcador de posición de imagen 18">
            <a:extLst>
              <a:ext uri="{FF2B5EF4-FFF2-40B4-BE49-F238E27FC236}">
                <a16:creationId xmlns:a16="http://schemas.microsoft.com/office/drawing/2014/main" id="{28B82C4D-B0B8-189F-0C45-3BE0F776A0D6}"/>
              </a:ext>
            </a:extLst>
          </p:cNvPr>
          <p:cNvSpPr>
            <a:spLocks noGrp="1"/>
          </p:cNvSpPr>
          <p:nvPr>
            <p:ph type="pic" sz="quarter" idx="34"/>
          </p:nvPr>
        </p:nvSpPr>
        <p:spPr/>
        <p:txBody>
          <a:bodyPr/>
          <a:lstStyle/>
          <a:p>
            <a:endParaRPr lang="en-GB"/>
          </a:p>
        </p:txBody>
      </p:sp>
      <p:sp>
        <p:nvSpPr>
          <p:cNvPr id="20" name="Marcador de texto 19">
            <a:extLst>
              <a:ext uri="{FF2B5EF4-FFF2-40B4-BE49-F238E27FC236}">
                <a16:creationId xmlns:a16="http://schemas.microsoft.com/office/drawing/2014/main" id="{0B93F55E-F3F3-1386-0113-C4CE4BDA919F}"/>
              </a:ext>
            </a:extLst>
          </p:cNvPr>
          <p:cNvSpPr>
            <a:spLocks noGrp="1"/>
          </p:cNvSpPr>
          <p:nvPr>
            <p:ph type="body" sz="quarter" idx="35"/>
          </p:nvPr>
        </p:nvSpPr>
        <p:spPr/>
        <p:txBody>
          <a:bodyPr/>
          <a:lstStyle/>
          <a:p>
            <a:endParaRPr lang="en-GB"/>
          </a:p>
        </p:txBody>
      </p:sp>
      <p:sp>
        <p:nvSpPr>
          <p:cNvPr id="21" name="Marcador de texto 20">
            <a:extLst>
              <a:ext uri="{FF2B5EF4-FFF2-40B4-BE49-F238E27FC236}">
                <a16:creationId xmlns:a16="http://schemas.microsoft.com/office/drawing/2014/main" id="{C076B006-CBCE-68D2-A709-EC595D8FBF09}"/>
              </a:ext>
            </a:extLst>
          </p:cNvPr>
          <p:cNvSpPr>
            <a:spLocks noGrp="1"/>
          </p:cNvSpPr>
          <p:nvPr>
            <p:ph type="body" sz="quarter" idx="36"/>
          </p:nvPr>
        </p:nvSpPr>
        <p:spPr/>
        <p:txBody>
          <a:bodyPr/>
          <a:lstStyle/>
          <a:p>
            <a:endParaRPr lang="en-GB"/>
          </a:p>
        </p:txBody>
      </p:sp>
    </p:spTree>
    <p:extLst>
      <p:ext uri="{BB962C8B-B14F-4D97-AF65-F5344CB8AC3E}">
        <p14:creationId xmlns:p14="http://schemas.microsoft.com/office/powerpoint/2010/main" val="6188423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B62E19AB-06E1-E457-9CD2-38AF54D10F77}"/>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6FCB989D-A9A2-6D39-4EC1-3566C2F2D14B}"/>
              </a:ext>
            </a:extLst>
          </p:cNvPr>
          <p:cNvSpPr>
            <a:spLocks noGrp="1"/>
          </p:cNvSpPr>
          <p:nvPr>
            <p:ph type="sldNum" sz="quarter" idx="12"/>
          </p:nvPr>
        </p:nvSpPr>
        <p:spPr/>
        <p:txBody>
          <a:bodyPr/>
          <a:lstStyle/>
          <a:p>
            <a:fld id="{FF2CED2D-DE01-CB40-AEF5-C9DD7CD06225}" type="slidenum">
              <a:rPr lang="es-ES" smtClean="0"/>
              <a:t>36</a:t>
            </a:fld>
            <a:endParaRPr lang="es-ES"/>
          </a:p>
        </p:txBody>
      </p:sp>
      <p:sp>
        <p:nvSpPr>
          <p:cNvPr id="15" name="Marcador de texto 14">
            <a:extLst>
              <a:ext uri="{FF2B5EF4-FFF2-40B4-BE49-F238E27FC236}">
                <a16:creationId xmlns:a16="http://schemas.microsoft.com/office/drawing/2014/main" id="{ED9CD255-9C12-8857-8C1F-8C4C3357B35C}"/>
              </a:ext>
            </a:extLst>
          </p:cNvPr>
          <p:cNvSpPr>
            <a:spLocks noGrp="1"/>
          </p:cNvSpPr>
          <p:nvPr>
            <p:ph type="body" sz="quarter" idx="17"/>
          </p:nvPr>
        </p:nvSpPr>
        <p:spPr/>
        <p:txBody>
          <a:bodyPr/>
          <a:lstStyle/>
          <a:p>
            <a:endParaRPr lang="en-GB"/>
          </a:p>
        </p:txBody>
      </p:sp>
      <p:sp>
        <p:nvSpPr>
          <p:cNvPr id="16" name="Marcador de texto 15">
            <a:extLst>
              <a:ext uri="{FF2B5EF4-FFF2-40B4-BE49-F238E27FC236}">
                <a16:creationId xmlns:a16="http://schemas.microsoft.com/office/drawing/2014/main" id="{14142B23-EA47-8AED-BB77-957D4B5CD605}"/>
              </a:ext>
            </a:extLst>
          </p:cNvPr>
          <p:cNvSpPr>
            <a:spLocks noGrp="1"/>
          </p:cNvSpPr>
          <p:nvPr>
            <p:ph type="body" sz="quarter" idx="18"/>
          </p:nvPr>
        </p:nvSpPr>
        <p:spPr/>
        <p:txBody>
          <a:bodyPr/>
          <a:lstStyle/>
          <a:p>
            <a:endParaRPr lang="en-GB"/>
          </a:p>
        </p:txBody>
      </p:sp>
      <p:sp>
        <p:nvSpPr>
          <p:cNvPr id="17" name="Marcador de texto 16">
            <a:extLst>
              <a:ext uri="{FF2B5EF4-FFF2-40B4-BE49-F238E27FC236}">
                <a16:creationId xmlns:a16="http://schemas.microsoft.com/office/drawing/2014/main" id="{F8AEE4EF-5257-EB1C-9E2B-CCB78652EEBF}"/>
              </a:ext>
            </a:extLst>
          </p:cNvPr>
          <p:cNvSpPr>
            <a:spLocks noGrp="1"/>
          </p:cNvSpPr>
          <p:nvPr>
            <p:ph type="body" sz="quarter" idx="19"/>
          </p:nvPr>
        </p:nvSpPr>
        <p:spPr/>
        <p:txBody>
          <a:bodyPr/>
          <a:lstStyle/>
          <a:p>
            <a:endParaRPr lang="en-GB"/>
          </a:p>
        </p:txBody>
      </p:sp>
      <p:sp>
        <p:nvSpPr>
          <p:cNvPr id="18" name="Marcador de texto 17">
            <a:extLst>
              <a:ext uri="{FF2B5EF4-FFF2-40B4-BE49-F238E27FC236}">
                <a16:creationId xmlns:a16="http://schemas.microsoft.com/office/drawing/2014/main" id="{28D8E00C-FB24-92EC-D940-FDB5DC56E64B}"/>
              </a:ext>
            </a:extLst>
          </p:cNvPr>
          <p:cNvSpPr>
            <a:spLocks noGrp="1"/>
          </p:cNvSpPr>
          <p:nvPr>
            <p:ph type="body" sz="quarter" idx="20"/>
          </p:nvPr>
        </p:nvSpPr>
        <p:spPr/>
        <p:txBody>
          <a:bodyPr/>
          <a:lstStyle/>
          <a:p>
            <a:endParaRPr lang="en-GB"/>
          </a:p>
        </p:txBody>
      </p:sp>
      <p:sp>
        <p:nvSpPr>
          <p:cNvPr id="19" name="Marcador de texto 18">
            <a:extLst>
              <a:ext uri="{FF2B5EF4-FFF2-40B4-BE49-F238E27FC236}">
                <a16:creationId xmlns:a16="http://schemas.microsoft.com/office/drawing/2014/main" id="{77059D05-EBBF-4229-752D-1B72F24EAF55}"/>
              </a:ext>
            </a:extLst>
          </p:cNvPr>
          <p:cNvSpPr>
            <a:spLocks noGrp="1"/>
          </p:cNvSpPr>
          <p:nvPr>
            <p:ph type="body" sz="quarter" idx="21"/>
          </p:nvPr>
        </p:nvSpPr>
        <p:spPr/>
        <p:txBody>
          <a:bodyPr/>
          <a:lstStyle/>
          <a:p>
            <a:endParaRPr lang="en-GB"/>
          </a:p>
        </p:txBody>
      </p:sp>
      <p:sp>
        <p:nvSpPr>
          <p:cNvPr id="20" name="Marcador de texto 19">
            <a:extLst>
              <a:ext uri="{FF2B5EF4-FFF2-40B4-BE49-F238E27FC236}">
                <a16:creationId xmlns:a16="http://schemas.microsoft.com/office/drawing/2014/main" id="{78F3188E-4368-FE3D-45F5-CFDE15DEB8F5}"/>
              </a:ext>
            </a:extLst>
          </p:cNvPr>
          <p:cNvSpPr>
            <a:spLocks noGrp="1"/>
          </p:cNvSpPr>
          <p:nvPr>
            <p:ph type="body" sz="quarter" idx="22"/>
          </p:nvPr>
        </p:nvSpPr>
        <p:spPr/>
        <p:txBody>
          <a:bodyPr/>
          <a:lstStyle/>
          <a:p>
            <a:endParaRPr lang="en-GB"/>
          </a:p>
        </p:txBody>
      </p:sp>
      <p:sp>
        <p:nvSpPr>
          <p:cNvPr id="21" name="Marcador de texto 20">
            <a:extLst>
              <a:ext uri="{FF2B5EF4-FFF2-40B4-BE49-F238E27FC236}">
                <a16:creationId xmlns:a16="http://schemas.microsoft.com/office/drawing/2014/main" id="{BDFAAA61-81C0-C3E1-75DE-D8E247498C35}"/>
              </a:ext>
            </a:extLst>
          </p:cNvPr>
          <p:cNvSpPr>
            <a:spLocks noGrp="1"/>
          </p:cNvSpPr>
          <p:nvPr>
            <p:ph type="body" sz="quarter" idx="23"/>
          </p:nvPr>
        </p:nvSpPr>
        <p:spPr/>
        <p:txBody>
          <a:bodyPr/>
          <a:lstStyle/>
          <a:p>
            <a:endParaRPr lang="en-GB"/>
          </a:p>
        </p:txBody>
      </p:sp>
      <p:sp>
        <p:nvSpPr>
          <p:cNvPr id="22" name="Marcador de texto 21">
            <a:extLst>
              <a:ext uri="{FF2B5EF4-FFF2-40B4-BE49-F238E27FC236}">
                <a16:creationId xmlns:a16="http://schemas.microsoft.com/office/drawing/2014/main" id="{70FFF447-0E04-F008-2B4B-4322B7CD970C}"/>
              </a:ext>
            </a:extLst>
          </p:cNvPr>
          <p:cNvSpPr>
            <a:spLocks noGrp="1"/>
          </p:cNvSpPr>
          <p:nvPr>
            <p:ph type="body" sz="quarter" idx="24"/>
          </p:nvPr>
        </p:nvSpPr>
        <p:spPr/>
        <p:txBody>
          <a:bodyPr/>
          <a:lstStyle/>
          <a:p>
            <a:endParaRPr lang="en-GB"/>
          </a:p>
        </p:txBody>
      </p:sp>
      <p:sp>
        <p:nvSpPr>
          <p:cNvPr id="14" name="Marcador de texto 13">
            <a:extLst>
              <a:ext uri="{FF2B5EF4-FFF2-40B4-BE49-F238E27FC236}">
                <a16:creationId xmlns:a16="http://schemas.microsoft.com/office/drawing/2014/main" id="{571E7E8D-B466-57F0-F2EF-47E54D5CBA16}"/>
              </a:ext>
            </a:extLst>
          </p:cNvPr>
          <p:cNvSpPr>
            <a:spLocks noGrp="1"/>
          </p:cNvSpPr>
          <p:nvPr>
            <p:ph type="body" sz="quarter" idx="14"/>
          </p:nvPr>
        </p:nvSpPr>
        <p:spPr/>
        <p:txBody>
          <a:bodyPr/>
          <a:lstStyle/>
          <a:p>
            <a:endParaRPr lang="en-GB"/>
          </a:p>
        </p:txBody>
      </p:sp>
      <p:sp>
        <p:nvSpPr>
          <p:cNvPr id="23" name="Marcador de texto 22">
            <a:extLst>
              <a:ext uri="{FF2B5EF4-FFF2-40B4-BE49-F238E27FC236}">
                <a16:creationId xmlns:a16="http://schemas.microsoft.com/office/drawing/2014/main" id="{9B3E4E0F-CC5B-C467-92F9-59CF313BC6DE}"/>
              </a:ext>
            </a:extLst>
          </p:cNvPr>
          <p:cNvSpPr>
            <a:spLocks noGrp="1"/>
          </p:cNvSpPr>
          <p:nvPr>
            <p:ph type="body" sz="quarter" idx="27"/>
          </p:nvPr>
        </p:nvSpPr>
        <p:spPr/>
        <p:txBody>
          <a:bodyPr/>
          <a:lstStyle/>
          <a:p>
            <a:endParaRPr lang="en-GB"/>
          </a:p>
        </p:txBody>
      </p:sp>
    </p:spTree>
    <p:extLst>
      <p:ext uri="{BB962C8B-B14F-4D97-AF65-F5344CB8AC3E}">
        <p14:creationId xmlns:p14="http://schemas.microsoft.com/office/powerpoint/2010/main" val="33573328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41D8ADFD-C7AF-4C0F-2AFA-93AB11C45C00}"/>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C0F983DB-DF9B-3FC8-DDB9-0ADAB1769301}"/>
              </a:ext>
            </a:extLst>
          </p:cNvPr>
          <p:cNvSpPr>
            <a:spLocks noGrp="1"/>
          </p:cNvSpPr>
          <p:nvPr>
            <p:ph type="sldNum" sz="quarter" idx="12"/>
          </p:nvPr>
        </p:nvSpPr>
        <p:spPr/>
        <p:txBody>
          <a:bodyPr/>
          <a:lstStyle/>
          <a:p>
            <a:fld id="{FF2CED2D-DE01-CB40-AEF5-C9DD7CD06225}" type="slidenum">
              <a:rPr lang="es-ES" smtClean="0"/>
              <a:t>37</a:t>
            </a:fld>
            <a:endParaRPr lang="es-ES"/>
          </a:p>
        </p:txBody>
      </p:sp>
      <p:sp>
        <p:nvSpPr>
          <p:cNvPr id="10" name="Marcador de texto 9">
            <a:extLst>
              <a:ext uri="{FF2B5EF4-FFF2-40B4-BE49-F238E27FC236}">
                <a16:creationId xmlns:a16="http://schemas.microsoft.com/office/drawing/2014/main" id="{481F8626-AF27-441F-2EC8-A3FBCF582C14}"/>
              </a:ext>
            </a:extLst>
          </p:cNvPr>
          <p:cNvSpPr>
            <a:spLocks noGrp="1"/>
          </p:cNvSpPr>
          <p:nvPr>
            <p:ph type="body" sz="quarter" idx="19"/>
          </p:nvPr>
        </p:nvSpPr>
        <p:spPr/>
        <p:txBody>
          <a:bodyPr/>
          <a:lstStyle/>
          <a:p>
            <a:endParaRPr lang="en-GB"/>
          </a:p>
        </p:txBody>
      </p:sp>
      <p:sp>
        <p:nvSpPr>
          <p:cNvPr id="11" name="Marcador de texto 10">
            <a:extLst>
              <a:ext uri="{FF2B5EF4-FFF2-40B4-BE49-F238E27FC236}">
                <a16:creationId xmlns:a16="http://schemas.microsoft.com/office/drawing/2014/main" id="{D558935B-FCF9-E290-C9E5-5DAF262B2628}"/>
              </a:ext>
            </a:extLst>
          </p:cNvPr>
          <p:cNvSpPr>
            <a:spLocks noGrp="1"/>
          </p:cNvSpPr>
          <p:nvPr>
            <p:ph type="body" sz="quarter" idx="20"/>
          </p:nvPr>
        </p:nvSpPr>
        <p:spPr/>
        <p:txBody>
          <a:bodyPr/>
          <a:lstStyle/>
          <a:p>
            <a:endParaRPr lang="en-GB"/>
          </a:p>
        </p:txBody>
      </p:sp>
      <p:sp>
        <p:nvSpPr>
          <p:cNvPr id="12" name="Marcador de texto 11">
            <a:extLst>
              <a:ext uri="{FF2B5EF4-FFF2-40B4-BE49-F238E27FC236}">
                <a16:creationId xmlns:a16="http://schemas.microsoft.com/office/drawing/2014/main" id="{5A142DD2-87C9-04E7-190F-AEC77DDDB918}"/>
              </a:ext>
            </a:extLst>
          </p:cNvPr>
          <p:cNvSpPr>
            <a:spLocks noGrp="1"/>
          </p:cNvSpPr>
          <p:nvPr>
            <p:ph type="body" sz="quarter" idx="27"/>
          </p:nvPr>
        </p:nvSpPr>
        <p:spPr/>
        <p:txBody>
          <a:bodyPr/>
          <a:lstStyle/>
          <a:p>
            <a:endParaRPr lang="en-GB"/>
          </a:p>
        </p:txBody>
      </p:sp>
      <p:sp>
        <p:nvSpPr>
          <p:cNvPr id="13" name="Marcador de texto 12">
            <a:extLst>
              <a:ext uri="{FF2B5EF4-FFF2-40B4-BE49-F238E27FC236}">
                <a16:creationId xmlns:a16="http://schemas.microsoft.com/office/drawing/2014/main" id="{3F908A71-4729-843F-94C4-B86DBB820283}"/>
              </a:ext>
            </a:extLst>
          </p:cNvPr>
          <p:cNvSpPr>
            <a:spLocks noGrp="1"/>
          </p:cNvSpPr>
          <p:nvPr>
            <p:ph type="body" sz="quarter" idx="28"/>
          </p:nvPr>
        </p:nvSpPr>
        <p:spPr/>
        <p:txBody>
          <a:bodyPr/>
          <a:lstStyle/>
          <a:p>
            <a:endParaRPr lang="en-GB"/>
          </a:p>
        </p:txBody>
      </p:sp>
      <p:sp>
        <p:nvSpPr>
          <p:cNvPr id="9" name="Marcador de texto 8">
            <a:extLst>
              <a:ext uri="{FF2B5EF4-FFF2-40B4-BE49-F238E27FC236}">
                <a16:creationId xmlns:a16="http://schemas.microsoft.com/office/drawing/2014/main" id="{CFBF0AEC-03AF-A180-CB76-8D8948249E60}"/>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6352967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ción de imagen 1">
            <a:extLst>
              <a:ext uri="{FF2B5EF4-FFF2-40B4-BE49-F238E27FC236}">
                <a16:creationId xmlns:a16="http://schemas.microsoft.com/office/drawing/2014/main" id="{A4E3A4CB-0899-A031-0633-C6BBD1A4B933}"/>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7D40CA3D-FAD1-1115-1202-F8238AE0E71E}"/>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BCF493B8-A356-7C29-2678-A2EE0E05E4E0}"/>
              </a:ext>
            </a:extLst>
          </p:cNvPr>
          <p:cNvSpPr>
            <a:spLocks noGrp="1"/>
          </p:cNvSpPr>
          <p:nvPr>
            <p:ph type="sldNum" sz="quarter" idx="12"/>
          </p:nvPr>
        </p:nvSpPr>
        <p:spPr/>
        <p:txBody>
          <a:bodyPr/>
          <a:lstStyle/>
          <a:p>
            <a:fld id="{FF2CED2D-DE01-CB40-AEF5-C9DD7CD06225}" type="slidenum">
              <a:rPr lang="es-ES" smtClean="0"/>
              <a:t>38</a:t>
            </a:fld>
            <a:endParaRPr lang="es-ES"/>
          </a:p>
        </p:txBody>
      </p:sp>
      <p:sp>
        <p:nvSpPr>
          <p:cNvPr id="5" name="Marcador de texto 4">
            <a:extLst>
              <a:ext uri="{FF2B5EF4-FFF2-40B4-BE49-F238E27FC236}">
                <a16:creationId xmlns:a16="http://schemas.microsoft.com/office/drawing/2014/main" id="{C2621D98-6497-226D-EBA8-16B72BBD04E6}"/>
              </a:ext>
            </a:extLst>
          </p:cNvPr>
          <p:cNvSpPr>
            <a:spLocks noGrp="1"/>
          </p:cNvSpPr>
          <p:nvPr>
            <p:ph type="body" sz="quarter" idx="16"/>
          </p:nvPr>
        </p:nvSpPr>
        <p:spPr/>
        <p:txBody>
          <a:bodyPr/>
          <a:lstStyle/>
          <a:p>
            <a:endParaRPr lang="en-GB"/>
          </a:p>
        </p:txBody>
      </p:sp>
      <p:sp>
        <p:nvSpPr>
          <p:cNvPr id="6" name="Marcador de texto 5">
            <a:extLst>
              <a:ext uri="{FF2B5EF4-FFF2-40B4-BE49-F238E27FC236}">
                <a16:creationId xmlns:a16="http://schemas.microsoft.com/office/drawing/2014/main" id="{DC957C16-8D54-7678-613F-C278B5B2D124}"/>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3977696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73F28411-370F-5D30-550F-49E4BD3B50F1}"/>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014B9CA7-BF98-DAF8-24E5-53FD4918A609}"/>
              </a:ext>
            </a:extLst>
          </p:cNvPr>
          <p:cNvSpPr>
            <a:spLocks noGrp="1"/>
          </p:cNvSpPr>
          <p:nvPr>
            <p:ph type="sldNum" sz="quarter" idx="12"/>
          </p:nvPr>
        </p:nvSpPr>
        <p:spPr/>
        <p:txBody>
          <a:bodyPr/>
          <a:lstStyle/>
          <a:p>
            <a:fld id="{FF2CED2D-DE01-CB40-AEF5-C9DD7CD06225}" type="slidenum">
              <a:rPr lang="es-ES" smtClean="0"/>
              <a:t>39</a:t>
            </a:fld>
            <a:endParaRPr lang="es-ES"/>
          </a:p>
        </p:txBody>
      </p:sp>
      <p:sp>
        <p:nvSpPr>
          <p:cNvPr id="4" name="Marcador de texto 3">
            <a:extLst>
              <a:ext uri="{FF2B5EF4-FFF2-40B4-BE49-F238E27FC236}">
                <a16:creationId xmlns:a16="http://schemas.microsoft.com/office/drawing/2014/main" id="{A0A2DBB6-6F0A-762F-1A16-8E58BFB7A366}"/>
              </a:ext>
            </a:extLst>
          </p:cNvPr>
          <p:cNvSpPr>
            <a:spLocks noGrp="1"/>
          </p:cNvSpPr>
          <p:nvPr>
            <p:ph type="body" sz="quarter" idx="13"/>
          </p:nvPr>
        </p:nvSpPr>
        <p:spPr/>
        <p:txBody>
          <a:bodyPr/>
          <a:lstStyle/>
          <a:p>
            <a:endParaRPr lang="en-GB"/>
          </a:p>
        </p:txBody>
      </p:sp>
      <p:sp>
        <p:nvSpPr>
          <p:cNvPr id="5" name="Marcador de texto 4">
            <a:extLst>
              <a:ext uri="{FF2B5EF4-FFF2-40B4-BE49-F238E27FC236}">
                <a16:creationId xmlns:a16="http://schemas.microsoft.com/office/drawing/2014/main" id="{017CB90B-37CF-7A7E-F528-EC3682039CB0}"/>
              </a:ext>
            </a:extLst>
          </p:cNvPr>
          <p:cNvSpPr>
            <a:spLocks noGrp="1"/>
          </p:cNvSpPr>
          <p:nvPr>
            <p:ph type="body" sz="quarter" idx="14"/>
          </p:nvPr>
        </p:nvSpPr>
        <p:spPr/>
        <p:txBody>
          <a:bodyPr/>
          <a:lstStyle/>
          <a:p>
            <a:endParaRPr lang="en-GB"/>
          </a:p>
        </p:txBody>
      </p:sp>
      <p:sp>
        <p:nvSpPr>
          <p:cNvPr id="6" name="Marcador de texto 5">
            <a:extLst>
              <a:ext uri="{FF2B5EF4-FFF2-40B4-BE49-F238E27FC236}">
                <a16:creationId xmlns:a16="http://schemas.microsoft.com/office/drawing/2014/main" id="{4C61F1D6-2425-E12B-996A-664418639403}"/>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920776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4698EC99-FF70-CC38-9F17-E27943F0C48B}"/>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A216EF36-9F52-915E-E6BC-0125E5966B36}"/>
              </a:ext>
            </a:extLst>
          </p:cNvPr>
          <p:cNvSpPr>
            <a:spLocks noGrp="1"/>
          </p:cNvSpPr>
          <p:nvPr>
            <p:ph type="sldNum" sz="quarter" idx="12"/>
          </p:nvPr>
        </p:nvSpPr>
        <p:spPr/>
        <p:txBody>
          <a:bodyPr/>
          <a:lstStyle/>
          <a:p>
            <a:fld id="{FF2CED2D-DE01-CB40-AEF5-C9DD7CD06225}" type="slidenum">
              <a:rPr lang="es-ES" smtClean="0"/>
              <a:t>4</a:t>
            </a:fld>
            <a:endParaRPr lang="es-ES"/>
          </a:p>
        </p:txBody>
      </p:sp>
      <p:sp>
        <p:nvSpPr>
          <p:cNvPr id="4" name="Marcador de texto 3">
            <a:extLst>
              <a:ext uri="{FF2B5EF4-FFF2-40B4-BE49-F238E27FC236}">
                <a16:creationId xmlns:a16="http://schemas.microsoft.com/office/drawing/2014/main" id="{90B83F32-7424-13E8-892F-B618FA796172}"/>
              </a:ext>
            </a:extLst>
          </p:cNvPr>
          <p:cNvSpPr>
            <a:spLocks noGrp="1"/>
          </p:cNvSpPr>
          <p:nvPr>
            <p:ph type="body" sz="quarter" idx="15"/>
          </p:nvPr>
        </p:nvSpPr>
        <p:spPr/>
        <p:txBody>
          <a:bodyPr/>
          <a:lstStyle/>
          <a:p>
            <a:r>
              <a:rPr lang="es-ES" dirty="0"/>
              <a:t>Evaluación del </a:t>
            </a:r>
            <a:r>
              <a:rPr lang="es-ES" dirty="0" smtClean="0"/>
              <a:t>Modelo INICIAL </a:t>
            </a:r>
            <a:r>
              <a:rPr lang="es-ES" dirty="0"/>
              <a:t>(Regresión Logística)</a:t>
            </a:r>
            <a:endParaRPr lang="en-GB" dirty="0"/>
          </a:p>
        </p:txBody>
      </p:sp>
      <p:sp>
        <p:nvSpPr>
          <p:cNvPr id="8" name="Rectangle 3"/>
          <p:cNvSpPr>
            <a:spLocks noChangeArrowheads="1"/>
          </p:cNvSpPr>
          <p:nvPr/>
        </p:nvSpPr>
        <p:spPr bwMode="auto">
          <a:xfrm>
            <a:off x="555307" y="1343036"/>
            <a:ext cx="10866672"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lvl="0" indent="-342900" algn="just" eaLnBrk="0" fontAlgn="base" hangingPunct="0">
              <a:spcBef>
                <a:spcPct val="0"/>
              </a:spcBef>
              <a:spcAft>
                <a:spcPct val="0"/>
              </a:spcAft>
              <a:buFont typeface="Arial" panose="020B0604020202020204" pitchFamily="34" charset="0"/>
              <a:buChar char="•"/>
            </a:pPr>
            <a:r>
              <a:rPr lang="es-ES" sz="2000" b="1" dirty="0"/>
              <a:t>Arquitectura y Estado Inicial</a:t>
            </a:r>
            <a:endParaRPr kumimoji="0" lang="es-ES" altLang="es-ES" sz="2000" b="1" i="0" u="none" strike="noStrike" cap="none" normalizeH="0" baseline="0" dirty="0" smtClean="0">
              <a:ln>
                <a:noFill/>
              </a:ln>
              <a:solidFill>
                <a:schemeClr val="tx1"/>
              </a:solidFill>
              <a:effectLst/>
              <a:latin typeface="Arial" panose="020B0604020202020204" pitchFamily="34" charset="0"/>
            </a:endParaRPr>
          </a:p>
          <a:p>
            <a:pPr marL="742950" lvl="1" indent="-285750" algn="just" eaLnBrk="0" fontAlgn="base" hangingPunct="0">
              <a:spcBef>
                <a:spcPct val="0"/>
              </a:spcBef>
              <a:spcAft>
                <a:spcPct val="0"/>
              </a:spcAft>
              <a:buFont typeface="Courier New" panose="02070309020205020404" pitchFamily="49" charset="0"/>
              <a:buChar char="o"/>
            </a:pPr>
            <a:r>
              <a:rPr kumimoji="0" lang="es-ES" altLang="es-ES" b="1" i="0" u="none" strike="noStrike" cap="none" normalizeH="0" baseline="0" dirty="0" smtClean="0">
                <a:ln>
                  <a:noFill/>
                </a:ln>
                <a:solidFill>
                  <a:schemeClr val="tx1"/>
                </a:solidFill>
                <a:effectLst/>
                <a:latin typeface="Arial" panose="020B0604020202020204" pitchFamily="34" charset="0"/>
              </a:rPr>
              <a:t>Modelo:</a:t>
            </a:r>
            <a:r>
              <a:rPr kumimoji="0" lang="es-ES" altLang="es-ES" b="0" i="0" u="none" strike="noStrike" cap="none" normalizeH="0" baseline="0" dirty="0" smtClean="0">
                <a:ln>
                  <a:noFill/>
                </a:ln>
                <a:solidFill>
                  <a:schemeClr val="tx1"/>
                </a:solidFill>
                <a:effectLst/>
                <a:latin typeface="Arial" panose="020B0604020202020204" pitchFamily="34" charset="0"/>
              </a:rPr>
              <a:t> Lineal basado en Regresión Logística (Implementación: Mario).</a:t>
            </a:r>
          </a:p>
          <a:p>
            <a:pPr marL="742950" lvl="1" indent="-285750" algn="just" eaLnBrk="0" fontAlgn="base" hangingPunct="0">
              <a:spcBef>
                <a:spcPct val="0"/>
              </a:spcBef>
              <a:spcAft>
                <a:spcPct val="0"/>
              </a:spcAft>
              <a:buFont typeface="Courier New" panose="02070309020205020404" pitchFamily="49" charset="0"/>
              <a:buChar char="o"/>
            </a:pPr>
            <a:r>
              <a:rPr lang="es-ES" b="1" dirty="0"/>
              <a:t>Rendimiento Previo:</a:t>
            </a:r>
            <a:r>
              <a:rPr lang="es-ES" dirty="0"/>
              <a:t> Resultados iniciales excelentes sobre los datos proporcionados originalmente</a:t>
            </a:r>
            <a:r>
              <a:rPr lang="es-ES" dirty="0" smtClean="0"/>
              <a:t>.</a:t>
            </a:r>
            <a:endParaRPr lang="es-ES" b="1" dirty="0" smtClean="0">
              <a:latin typeface="Arial" panose="020B0604020202020204" pitchFamily="34" charset="0"/>
            </a:endParaRPr>
          </a:p>
          <a:p>
            <a:pPr marL="742950" lvl="1" indent="-285750" algn="just" eaLnBrk="0" fontAlgn="base" hangingPunct="0">
              <a:spcBef>
                <a:spcPct val="0"/>
              </a:spcBef>
              <a:spcAft>
                <a:spcPct val="0"/>
              </a:spcAft>
              <a:buFont typeface="Courier New" panose="02070309020205020404" pitchFamily="49" charset="0"/>
              <a:buChar char="o"/>
            </a:pPr>
            <a:endParaRPr lang="es-ES" altLang="es-ES" b="1" dirty="0">
              <a:latin typeface="Arial" panose="020B0604020202020204" pitchFamily="34" charset="0"/>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s-ES" altLang="es-ES" sz="2000" b="1" i="0" u="none" strike="noStrike" cap="none" normalizeH="0" baseline="0" dirty="0" smtClean="0">
                <a:ln>
                  <a:noFill/>
                </a:ln>
                <a:solidFill>
                  <a:schemeClr val="tx1"/>
                </a:solidFill>
                <a:effectLst/>
                <a:latin typeface="Arial" panose="020B0604020202020204" pitchFamily="34" charset="0"/>
              </a:rPr>
              <a:t>Problemática Detectada (Generalización)</a:t>
            </a:r>
            <a:endParaRPr lang="es-ES" altLang="es-ES" sz="2000" dirty="0">
              <a:latin typeface="Arial" panose="020B0604020202020204" pitchFamily="34" charset="0"/>
            </a:endParaRPr>
          </a:p>
          <a:p>
            <a:pPr marL="742950" lvl="1" indent="-285750" algn="just" eaLnBrk="0" fontAlgn="base" hangingPunct="0">
              <a:spcBef>
                <a:spcPct val="0"/>
              </a:spcBef>
              <a:spcAft>
                <a:spcPct val="0"/>
              </a:spcAft>
              <a:buFont typeface="Courier New" panose="02070309020205020404" pitchFamily="49" charset="0"/>
              <a:buChar char="o"/>
            </a:pPr>
            <a:r>
              <a:rPr kumimoji="0" lang="es-ES" altLang="es-ES" b="0" i="0" u="none" strike="noStrike" cap="none" normalizeH="0" baseline="0" dirty="0" smtClean="0">
                <a:ln>
                  <a:noFill/>
                </a:ln>
                <a:solidFill>
                  <a:schemeClr val="tx1"/>
                </a:solidFill>
                <a:effectLst/>
                <a:latin typeface="Arial" panose="020B0604020202020204" pitchFamily="34" charset="0"/>
              </a:rPr>
              <a:t>Fallo crítico al validar con datos externos (nuevos).</a:t>
            </a:r>
          </a:p>
          <a:p>
            <a:pPr marL="742950" lvl="1" indent="-285750" algn="just" eaLnBrk="0" fontAlgn="base" hangingPunct="0">
              <a:spcBef>
                <a:spcPct val="0"/>
              </a:spcBef>
              <a:spcAft>
                <a:spcPct val="0"/>
              </a:spcAft>
              <a:buFont typeface="Courier New" panose="02070309020205020404" pitchFamily="49" charset="0"/>
              <a:buChar char="o"/>
            </a:pPr>
            <a:r>
              <a:rPr kumimoji="0" lang="es-ES" altLang="es-ES" b="0" i="0" u="none" strike="noStrike" cap="none" normalizeH="0" baseline="0" dirty="0" smtClean="0">
                <a:ln>
                  <a:noFill/>
                </a:ln>
                <a:solidFill>
                  <a:schemeClr val="tx1"/>
                </a:solidFill>
                <a:effectLst/>
                <a:latin typeface="Arial" panose="020B0604020202020204" pitchFamily="34" charset="0"/>
              </a:rPr>
              <a:t>Incapacidad para detectar </a:t>
            </a:r>
            <a:r>
              <a:rPr kumimoji="0" lang="es-ES" altLang="es-ES" b="1" i="0" u="none" strike="noStrike" cap="none" normalizeH="0" baseline="0" dirty="0" smtClean="0">
                <a:ln>
                  <a:noFill/>
                </a:ln>
                <a:solidFill>
                  <a:schemeClr val="tx1"/>
                </a:solidFill>
                <a:effectLst/>
                <a:latin typeface="Arial" panose="020B0604020202020204" pitchFamily="34" charset="0"/>
              </a:rPr>
              <a:t>puntos de soldadura incorrectos</a:t>
            </a:r>
            <a:r>
              <a:rPr kumimoji="0" lang="es-ES" altLang="es-ES" b="0" i="0" u="none" strike="noStrike" cap="none" normalizeH="0" baseline="0" dirty="0" smtClean="0">
                <a:ln>
                  <a:noFill/>
                </a:ln>
                <a:solidFill>
                  <a:schemeClr val="tx1"/>
                </a:solidFill>
                <a:effectLst/>
                <a:latin typeface="Arial" panose="020B0604020202020204" pitchFamily="34" charset="0"/>
              </a:rPr>
              <a:t> (defectos de pegado).</a:t>
            </a:r>
          </a:p>
          <a:p>
            <a:pPr marL="0" marR="0" lvl="0" indent="0" algn="just" defTabSz="914400" rtl="0" eaLnBrk="0" fontAlgn="base" latinLnBrk="0" hangingPunct="0">
              <a:lnSpc>
                <a:spcPct val="100000"/>
              </a:lnSpc>
              <a:spcBef>
                <a:spcPct val="0"/>
              </a:spcBef>
              <a:spcAft>
                <a:spcPct val="0"/>
              </a:spcAft>
              <a:buClrTx/>
              <a:buSzTx/>
              <a:tabLst/>
            </a:pPr>
            <a:endParaRPr kumimoji="0" lang="es-ES" altLang="es-ES" sz="1800" b="0" i="0" u="none" strike="noStrike" cap="none" normalizeH="0" baseline="0" dirty="0" smtClean="0">
              <a:ln>
                <a:noFill/>
              </a:ln>
              <a:solidFill>
                <a:schemeClr val="tx1"/>
              </a:solidFill>
              <a:effectLst/>
              <a:latin typeface="Arial" panose="020B0604020202020204" pitchFamily="34" charset="0"/>
            </a:endParaRPr>
          </a:p>
          <a:p>
            <a:pPr marL="342900" marR="0" lvl="0" indent="-34290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s-ES" altLang="es-ES" sz="2000" b="1" i="0" u="none" strike="noStrike" cap="none" normalizeH="0" baseline="0" dirty="0" smtClean="0">
                <a:ln>
                  <a:noFill/>
                </a:ln>
                <a:solidFill>
                  <a:schemeClr val="tx1"/>
                </a:solidFill>
                <a:effectLst/>
                <a:latin typeface="Arial" panose="020B0604020202020204" pitchFamily="34" charset="0"/>
              </a:rPr>
              <a:t>Causa Raíz</a:t>
            </a:r>
          </a:p>
          <a:p>
            <a:pPr marL="742950" lvl="1" indent="-285750" algn="just" eaLnBrk="0" fontAlgn="base" hangingPunct="0">
              <a:spcBef>
                <a:spcPct val="0"/>
              </a:spcBef>
              <a:spcAft>
                <a:spcPct val="0"/>
              </a:spcAft>
              <a:buFont typeface="Courier New" panose="02070309020205020404" pitchFamily="49" charset="0"/>
              <a:buChar char="o"/>
            </a:pPr>
            <a:r>
              <a:rPr kumimoji="0" lang="es-ES" altLang="es-ES" b="1" i="0" u="none" strike="noStrike" cap="none" normalizeH="0" baseline="0" dirty="0" err="1" smtClean="0">
                <a:ln>
                  <a:noFill/>
                </a:ln>
                <a:solidFill>
                  <a:schemeClr val="tx1"/>
                </a:solidFill>
                <a:effectLst/>
                <a:latin typeface="Arial" panose="020B0604020202020204" pitchFamily="34" charset="0"/>
              </a:rPr>
              <a:t>Dataset</a:t>
            </a:r>
            <a:r>
              <a:rPr kumimoji="0" lang="es-ES" altLang="es-ES" b="1" i="0" u="none" strike="noStrike" cap="none" normalizeH="0" baseline="0" dirty="0" smtClean="0">
                <a:ln>
                  <a:noFill/>
                </a:ln>
                <a:solidFill>
                  <a:schemeClr val="tx1"/>
                </a:solidFill>
                <a:effectLst/>
                <a:latin typeface="Arial" panose="020B0604020202020204" pitchFamily="34" charset="0"/>
              </a:rPr>
              <a:t> Insuficiente:</a:t>
            </a:r>
            <a:r>
              <a:rPr kumimoji="0" lang="es-ES" altLang="es-ES" b="0" i="0" u="none" strike="noStrike" cap="none" normalizeH="0" baseline="0" dirty="0" smtClean="0">
                <a:ln>
                  <a:noFill/>
                </a:ln>
                <a:solidFill>
                  <a:schemeClr val="tx1"/>
                </a:solidFill>
                <a:effectLst/>
                <a:latin typeface="Arial" panose="020B0604020202020204" pitchFamily="34" charset="0"/>
              </a:rPr>
              <a:t> Base de datos limitada a ~108 puntos (mezcla de defectos y no defectos).</a:t>
            </a:r>
          </a:p>
          <a:p>
            <a:pPr marL="742950" lvl="1" indent="-285750" algn="just" eaLnBrk="0" fontAlgn="base" hangingPunct="0">
              <a:spcBef>
                <a:spcPct val="0"/>
              </a:spcBef>
              <a:spcAft>
                <a:spcPct val="0"/>
              </a:spcAft>
              <a:buFont typeface="Courier New" panose="02070309020205020404" pitchFamily="49" charset="0"/>
              <a:buChar char="o"/>
            </a:pPr>
            <a:r>
              <a:rPr kumimoji="0" lang="es-ES" altLang="es-ES" b="0" i="0" u="none" strike="noStrike" cap="none" normalizeH="0" baseline="0" dirty="0" smtClean="0">
                <a:ln>
                  <a:noFill/>
                </a:ln>
                <a:solidFill>
                  <a:schemeClr val="tx1"/>
                </a:solidFill>
                <a:effectLst/>
                <a:latin typeface="Arial" panose="020B0604020202020204" pitchFamily="34" charset="0"/>
              </a:rPr>
              <a:t>Baja representatividad de la variabilidad real.</a:t>
            </a:r>
          </a:p>
          <a:p>
            <a:pPr marL="742950" lvl="1" indent="-285750" algn="just" eaLnBrk="0" fontAlgn="base" hangingPunct="0">
              <a:spcBef>
                <a:spcPct val="0"/>
              </a:spcBef>
              <a:spcAft>
                <a:spcPct val="0"/>
              </a:spcAft>
              <a:buFont typeface="Courier New" panose="02070309020205020404" pitchFamily="49" charset="0"/>
              <a:buChar char="o"/>
            </a:pPr>
            <a:r>
              <a:rPr lang="es-ES" altLang="es-ES" dirty="0" smtClean="0">
                <a:latin typeface="Arial" panose="020B0604020202020204" pitchFamily="34" charset="0"/>
              </a:rPr>
              <a:t>Uso de modelo lineal para relacionar características no lineales.</a:t>
            </a:r>
            <a:endParaRPr kumimoji="0" lang="es-ES" altLang="es-ES" b="0" i="0" u="none" strike="noStrike" cap="none" normalizeH="0" baseline="0" dirty="0" smtClean="0">
              <a:ln>
                <a:noFill/>
              </a:ln>
              <a:solidFill>
                <a:schemeClr val="tx1"/>
              </a:solidFill>
              <a:effectLst/>
              <a:latin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s-ES" altLang="es-E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48248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ción de imagen 1">
            <a:extLst>
              <a:ext uri="{FF2B5EF4-FFF2-40B4-BE49-F238E27FC236}">
                <a16:creationId xmlns:a16="http://schemas.microsoft.com/office/drawing/2014/main" id="{A12F70E8-F26E-FCB6-E734-35D85F7A64EB}"/>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C5E80A40-C329-B888-B7DD-363500FFE20A}"/>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987B1EE7-2E6C-087C-3F57-899C5503023D}"/>
              </a:ext>
            </a:extLst>
          </p:cNvPr>
          <p:cNvSpPr>
            <a:spLocks noGrp="1"/>
          </p:cNvSpPr>
          <p:nvPr>
            <p:ph type="sldNum" sz="quarter" idx="12"/>
          </p:nvPr>
        </p:nvSpPr>
        <p:spPr/>
        <p:txBody>
          <a:bodyPr/>
          <a:lstStyle/>
          <a:p>
            <a:fld id="{FF2CED2D-DE01-CB40-AEF5-C9DD7CD06225}" type="slidenum">
              <a:rPr lang="es-ES" smtClean="0"/>
              <a:pPr/>
              <a:t>40</a:t>
            </a:fld>
            <a:endParaRPr lang="es-ES"/>
          </a:p>
        </p:txBody>
      </p:sp>
      <p:sp>
        <p:nvSpPr>
          <p:cNvPr id="5" name="Marcador de texto 4">
            <a:extLst>
              <a:ext uri="{FF2B5EF4-FFF2-40B4-BE49-F238E27FC236}">
                <a16:creationId xmlns:a16="http://schemas.microsoft.com/office/drawing/2014/main" id="{1B132BB4-CF65-7CBC-A6FB-FD246931B6B2}"/>
              </a:ext>
            </a:extLst>
          </p:cNvPr>
          <p:cNvSpPr>
            <a:spLocks noGrp="1"/>
          </p:cNvSpPr>
          <p:nvPr>
            <p:ph type="body" sz="quarter" idx="16"/>
          </p:nvPr>
        </p:nvSpPr>
        <p:spPr/>
        <p:txBody>
          <a:bodyPr/>
          <a:lstStyle/>
          <a:p>
            <a:endParaRPr lang="en-GB"/>
          </a:p>
        </p:txBody>
      </p:sp>
      <p:sp>
        <p:nvSpPr>
          <p:cNvPr id="6" name="Marcador de texto 5">
            <a:extLst>
              <a:ext uri="{FF2B5EF4-FFF2-40B4-BE49-F238E27FC236}">
                <a16:creationId xmlns:a16="http://schemas.microsoft.com/office/drawing/2014/main" id="{4F208226-396B-1FE2-0C13-647F6A97BE1F}"/>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9922265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D7A92650-BE22-12AB-CAB7-E9C803306F96}"/>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245A8410-6C3B-05B1-A766-A51A51FF6D31}"/>
              </a:ext>
            </a:extLst>
          </p:cNvPr>
          <p:cNvSpPr>
            <a:spLocks noGrp="1"/>
          </p:cNvSpPr>
          <p:nvPr>
            <p:ph type="sldNum" sz="quarter" idx="12"/>
          </p:nvPr>
        </p:nvSpPr>
        <p:spPr/>
        <p:txBody>
          <a:bodyPr/>
          <a:lstStyle/>
          <a:p>
            <a:fld id="{FF2CED2D-DE01-CB40-AEF5-C9DD7CD06225}" type="slidenum">
              <a:rPr lang="es-ES" smtClean="0"/>
              <a:pPr/>
              <a:t>41</a:t>
            </a:fld>
            <a:endParaRPr lang="es-ES"/>
          </a:p>
        </p:txBody>
      </p:sp>
      <p:sp>
        <p:nvSpPr>
          <p:cNvPr id="4" name="Marcador de texto 3">
            <a:extLst>
              <a:ext uri="{FF2B5EF4-FFF2-40B4-BE49-F238E27FC236}">
                <a16:creationId xmlns:a16="http://schemas.microsoft.com/office/drawing/2014/main" id="{A1C4D518-4AFE-1212-A0B1-4A6E7D6B32E6}"/>
              </a:ext>
            </a:extLst>
          </p:cNvPr>
          <p:cNvSpPr>
            <a:spLocks noGrp="1"/>
          </p:cNvSpPr>
          <p:nvPr>
            <p:ph type="body" sz="quarter" idx="13"/>
          </p:nvPr>
        </p:nvSpPr>
        <p:spPr/>
        <p:txBody>
          <a:bodyPr/>
          <a:lstStyle/>
          <a:p>
            <a:endParaRPr lang="en-GB"/>
          </a:p>
        </p:txBody>
      </p:sp>
      <p:sp>
        <p:nvSpPr>
          <p:cNvPr id="5" name="Marcador de texto 4">
            <a:extLst>
              <a:ext uri="{FF2B5EF4-FFF2-40B4-BE49-F238E27FC236}">
                <a16:creationId xmlns:a16="http://schemas.microsoft.com/office/drawing/2014/main" id="{1DA7EEA1-7C56-7933-0FA4-3AD71BA0A736}"/>
              </a:ext>
            </a:extLst>
          </p:cNvPr>
          <p:cNvSpPr>
            <a:spLocks noGrp="1"/>
          </p:cNvSpPr>
          <p:nvPr>
            <p:ph type="body" sz="quarter" idx="14"/>
          </p:nvPr>
        </p:nvSpPr>
        <p:spPr/>
        <p:txBody>
          <a:bodyPr/>
          <a:lstStyle/>
          <a:p>
            <a:endParaRPr lang="en-GB"/>
          </a:p>
        </p:txBody>
      </p:sp>
      <p:sp>
        <p:nvSpPr>
          <p:cNvPr id="6" name="Marcador de texto 5">
            <a:extLst>
              <a:ext uri="{FF2B5EF4-FFF2-40B4-BE49-F238E27FC236}">
                <a16:creationId xmlns:a16="http://schemas.microsoft.com/office/drawing/2014/main" id="{F13EBCA4-6D03-F9AF-F382-2D7E91329958}"/>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1464667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ción de imagen 1">
            <a:extLst>
              <a:ext uri="{FF2B5EF4-FFF2-40B4-BE49-F238E27FC236}">
                <a16:creationId xmlns:a16="http://schemas.microsoft.com/office/drawing/2014/main" id="{1D1F0B2B-73D9-B1A3-A65F-3342184095FC}"/>
              </a:ext>
            </a:extLst>
          </p:cNvPr>
          <p:cNvSpPr>
            <a:spLocks noGrp="1"/>
          </p:cNvSpPr>
          <p:nvPr>
            <p:ph type="pic" sz="quarter" idx="21"/>
          </p:nvPr>
        </p:nvSpPr>
        <p:spPr/>
        <p:txBody>
          <a:bodyPr/>
          <a:lstStyle/>
          <a:p>
            <a:endParaRPr lang="en-GB"/>
          </a:p>
        </p:txBody>
      </p:sp>
      <p:sp>
        <p:nvSpPr>
          <p:cNvPr id="3" name="Marcador de pie de página 2">
            <a:extLst>
              <a:ext uri="{FF2B5EF4-FFF2-40B4-BE49-F238E27FC236}">
                <a16:creationId xmlns:a16="http://schemas.microsoft.com/office/drawing/2014/main" id="{BE5CD420-7BCF-F260-FBFE-84761293E3A7}"/>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850E446E-2158-EDB5-9A2F-88F58437B414}"/>
              </a:ext>
            </a:extLst>
          </p:cNvPr>
          <p:cNvSpPr>
            <a:spLocks noGrp="1"/>
          </p:cNvSpPr>
          <p:nvPr>
            <p:ph type="sldNum" sz="quarter" idx="12"/>
          </p:nvPr>
        </p:nvSpPr>
        <p:spPr/>
        <p:txBody>
          <a:bodyPr/>
          <a:lstStyle/>
          <a:p>
            <a:fld id="{FF2CED2D-DE01-CB40-AEF5-C9DD7CD06225}" type="slidenum">
              <a:rPr lang="es-ES" smtClean="0"/>
              <a:pPr/>
              <a:t>42</a:t>
            </a:fld>
            <a:endParaRPr lang="es-ES"/>
          </a:p>
        </p:txBody>
      </p:sp>
      <p:sp>
        <p:nvSpPr>
          <p:cNvPr id="5" name="Marcador de texto 4">
            <a:extLst>
              <a:ext uri="{FF2B5EF4-FFF2-40B4-BE49-F238E27FC236}">
                <a16:creationId xmlns:a16="http://schemas.microsoft.com/office/drawing/2014/main" id="{B0A2BB54-6F2D-3CB1-DBBD-16617198CC67}"/>
              </a:ext>
            </a:extLst>
          </p:cNvPr>
          <p:cNvSpPr>
            <a:spLocks noGrp="1"/>
          </p:cNvSpPr>
          <p:nvPr>
            <p:ph type="body" sz="quarter" idx="16"/>
          </p:nvPr>
        </p:nvSpPr>
        <p:spPr/>
        <p:txBody>
          <a:bodyPr/>
          <a:lstStyle/>
          <a:p>
            <a:endParaRPr lang="en-GB"/>
          </a:p>
        </p:txBody>
      </p:sp>
      <p:sp>
        <p:nvSpPr>
          <p:cNvPr id="6" name="Marcador de texto 5">
            <a:extLst>
              <a:ext uri="{FF2B5EF4-FFF2-40B4-BE49-F238E27FC236}">
                <a16:creationId xmlns:a16="http://schemas.microsoft.com/office/drawing/2014/main" id="{D2CFCA47-FF60-D127-0B7F-349C429ECAB8}"/>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4036509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D3134A3A-E27B-F7FA-A7BE-AA9457ACC87B}"/>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616FA8BA-5940-7F21-8A01-74F778D782AB}"/>
              </a:ext>
            </a:extLst>
          </p:cNvPr>
          <p:cNvSpPr>
            <a:spLocks noGrp="1"/>
          </p:cNvSpPr>
          <p:nvPr>
            <p:ph type="sldNum" sz="quarter" idx="12"/>
          </p:nvPr>
        </p:nvSpPr>
        <p:spPr/>
        <p:txBody>
          <a:bodyPr/>
          <a:lstStyle/>
          <a:p>
            <a:fld id="{FF2CED2D-DE01-CB40-AEF5-C9DD7CD06225}" type="slidenum">
              <a:rPr lang="es-ES" smtClean="0"/>
              <a:pPr/>
              <a:t>43</a:t>
            </a:fld>
            <a:endParaRPr lang="es-ES"/>
          </a:p>
        </p:txBody>
      </p:sp>
      <p:sp>
        <p:nvSpPr>
          <p:cNvPr id="4" name="Marcador de texto 3">
            <a:extLst>
              <a:ext uri="{FF2B5EF4-FFF2-40B4-BE49-F238E27FC236}">
                <a16:creationId xmlns:a16="http://schemas.microsoft.com/office/drawing/2014/main" id="{46846B42-5213-14CF-21C4-A1297EB44077}"/>
              </a:ext>
            </a:extLst>
          </p:cNvPr>
          <p:cNvSpPr>
            <a:spLocks noGrp="1"/>
          </p:cNvSpPr>
          <p:nvPr>
            <p:ph type="body" sz="quarter" idx="13"/>
          </p:nvPr>
        </p:nvSpPr>
        <p:spPr/>
        <p:txBody>
          <a:bodyPr/>
          <a:lstStyle/>
          <a:p>
            <a:endParaRPr lang="en-GB"/>
          </a:p>
        </p:txBody>
      </p:sp>
      <p:sp>
        <p:nvSpPr>
          <p:cNvPr id="5" name="Marcador de texto 4">
            <a:extLst>
              <a:ext uri="{FF2B5EF4-FFF2-40B4-BE49-F238E27FC236}">
                <a16:creationId xmlns:a16="http://schemas.microsoft.com/office/drawing/2014/main" id="{09DA43A5-79B8-EDE5-2EAF-28F6D7DA95EA}"/>
              </a:ext>
            </a:extLst>
          </p:cNvPr>
          <p:cNvSpPr>
            <a:spLocks noGrp="1"/>
          </p:cNvSpPr>
          <p:nvPr>
            <p:ph type="body" sz="quarter" idx="14"/>
          </p:nvPr>
        </p:nvSpPr>
        <p:spPr/>
        <p:txBody>
          <a:bodyPr/>
          <a:lstStyle/>
          <a:p>
            <a:endParaRPr lang="en-GB"/>
          </a:p>
        </p:txBody>
      </p:sp>
      <p:sp>
        <p:nvSpPr>
          <p:cNvPr id="6" name="Marcador de texto 5">
            <a:extLst>
              <a:ext uri="{FF2B5EF4-FFF2-40B4-BE49-F238E27FC236}">
                <a16:creationId xmlns:a16="http://schemas.microsoft.com/office/drawing/2014/main" id="{86C4ABEB-ED05-1166-13A3-D427E81FB4CD}"/>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6607504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B092B364-1854-EBE9-9AFF-ED8B60C6E757}"/>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C193A687-89EE-EB9D-D6A6-15DF42F3FFDE}"/>
              </a:ext>
            </a:extLst>
          </p:cNvPr>
          <p:cNvSpPr>
            <a:spLocks noGrp="1"/>
          </p:cNvSpPr>
          <p:nvPr>
            <p:ph type="sldNum" sz="quarter" idx="12"/>
          </p:nvPr>
        </p:nvSpPr>
        <p:spPr/>
        <p:txBody>
          <a:bodyPr/>
          <a:lstStyle/>
          <a:p>
            <a:fld id="{FF2CED2D-DE01-CB40-AEF5-C9DD7CD06225}" type="slidenum">
              <a:rPr lang="es-ES" smtClean="0"/>
              <a:pPr/>
              <a:t>44</a:t>
            </a:fld>
            <a:endParaRPr lang="es-ES"/>
          </a:p>
        </p:txBody>
      </p:sp>
      <p:sp>
        <p:nvSpPr>
          <p:cNvPr id="6" name="Marcador de posición de imagen 5">
            <a:extLst>
              <a:ext uri="{FF2B5EF4-FFF2-40B4-BE49-F238E27FC236}">
                <a16:creationId xmlns:a16="http://schemas.microsoft.com/office/drawing/2014/main" id="{0E1776A6-D592-3475-DF99-227F6AFD5961}"/>
              </a:ext>
            </a:extLst>
          </p:cNvPr>
          <p:cNvSpPr>
            <a:spLocks noGrp="1"/>
          </p:cNvSpPr>
          <p:nvPr>
            <p:ph type="pic" sz="quarter" idx="21"/>
          </p:nvPr>
        </p:nvSpPr>
        <p:spPr/>
        <p:txBody>
          <a:bodyPr/>
          <a:lstStyle/>
          <a:p>
            <a:endParaRPr lang="en-GB"/>
          </a:p>
        </p:txBody>
      </p:sp>
      <p:sp>
        <p:nvSpPr>
          <p:cNvPr id="4" name="Marcador de texto 3">
            <a:extLst>
              <a:ext uri="{FF2B5EF4-FFF2-40B4-BE49-F238E27FC236}">
                <a16:creationId xmlns:a16="http://schemas.microsoft.com/office/drawing/2014/main" id="{069C0266-F8EC-E050-D2CF-FD37E48CFF6F}"/>
              </a:ext>
            </a:extLst>
          </p:cNvPr>
          <p:cNvSpPr>
            <a:spLocks noGrp="1"/>
          </p:cNvSpPr>
          <p:nvPr>
            <p:ph type="body" sz="quarter" idx="14"/>
          </p:nvPr>
        </p:nvSpPr>
        <p:spPr/>
        <p:txBody>
          <a:bodyPr/>
          <a:lstStyle/>
          <a:p>
            <a:endParaRPr lang="en-GB"/>
          </a:p>
        </p:txBody>
      </p:sp>
      <p:sp>
        <p:nvSpPr>
          <p:cNvPr id="5" name="Marcador de texto 4">
            <a:extLst>
              <a:ext uri="{FF2B5EF4-FFF2-40B4-BE49-F238E27FC236}">
                <a16:creationId xmlns:a16="http://schemas.microsoft.com/office/drawing/2014/main" id="{DA4C054A-9230-5FB0-3D6B-6FF96CA53EC9}"/>
              </a:ext>
            </a:extLst>
          </p:cNvPr>
          <p:cNvSpPr>
            <a:spLocks noGrp="1"/>
          </p:cNvSpPr>
          <p:nvPr>
            <p:ph type="body" sz="quarter" idx="18"/>
          </p:nvPr>
        </p:nvSpPr>
        <p:spPr/>
        <p:txBody>
          <a:bodyPr/>
          <a:lstStyle/>
          <a:p>
            <a:endParaRPr lang="en-GB"/>
          </a:p>
        </p:txBody>
      </p:sp>
    </p:spTree>
    <p:extLst>
      <p:ext uri="{BB962C8B-B14F-4D97-AF65-F5344CB8AC3E}">
        <p14:creationId xmlns:p14="http://schemas.microsoft.com/office/powerpoint/2010/main" val="38752756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C47EF0BC-00D8-0A00-1AB9-95D2ABFCE3F7}"/>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0A578AB9-01EF-F738-B9BA-BEBFDE0CF395}"/>
              </a:ext>
            </a:extLst>
          </p:cNvPr>
          <p:cNvSpPr>
            <a:spLocks noGrp="1"/>
          </p:cNvSpPr>
          <p:nvPr>
            <p:ph type="sldNum" sz="quarter" idx="12"/>
          </p:nvPr>
        </p:nvSpPr>
        <p:spPr/>
        <p:txBody>
          <a:bodyPr/>
          <a:lstStyle/>
          <a:p>
            <a:fld id="{FF2CED2D-DE01-CB40-AEF5-C9DD7CD06225}" type="slidenum">
              <a:rPr lang="es-ES" smtClean="0"/>
              <a:t>45</a:t>
            </a:fld>
            <a:endParaRPr lang="es-ES"/>
          </a:p>
        </p:txBody>
      </p:sp>
      <p:sp>
        <p:nvSpPr>
          <p:cNvPr id="4" name="Marcador de texto 3">
            <a:extLst>
              <a:ext uri="{FF2B5EF4-FFF2-40B4-BE49-F238E27FC236}">
                <a16:creationId xmlns:a16="http://schemas.microsoft.com/office/drawing/2014/main" id="{99EFECA5-A2FD-A034-7655-366ED932F378}"/>
              </a:ext>
            </a:extLst>
          </p:cNvPr>
          <p:cNvSpPr>
            <a:spLocks noGrp="1"/>
          </p:cNvSpPr>
          <p:nvPr>
            <p:ph type="body" sz="quarter" idx="14"/>
          </p:nvPr>
        </p:nvSpPr>
        <p:spPr/>
        <p:txBody>
          <a:bodyPr/>
          <a:lstStyle/>
          <a:p>
            <a:endParaRPr lang="en-GB"/>
          </a:p>
        </p:txBody>
      </p:sp>
      <p:sp>
        <p:nvSpPr>
          <p:cNvPr id="5" name="Marcador de texto 4">
            <a:extLst>
              <a:ext uri="{FF2B5EF4-FFF2-40B4-BE49-F238E27FC236}">
                <a16:creationId xmlns:a16="http://schemas.microsoft.com/office/drawing/2014/main" id="{77AFF8DB-F985-E50A-6621-342ABE37CA72}"/>
              </a:ext>
            </a:extLst>
          </p:cNvPr>
          <p:cNvSpPr>
            <a:spLocks noGrp="1"/>
          </p:cNvSpPr>
          <p:nvPr>
            <p:ph type="body" sz="quarter" idx="18"/>
          </p:nvPr>
        </p:nvSpPr>
        <p:spPr/>
        <p:txBody>
          <a:bodyPr/>
          <a:lstStyle/>
          <a:p>
            <a:endParaRPr lang="en-GB"/>
          </a:p>
        </p:txBody>
      </p:sp>
    </p:spTree>
    <p:extLst>
      <p:ext uri="{BB962C8B-B14F-4D97-AF65-F5344CB8AC3E}">
        <p14:creationId xmlns:p14="http://schemas.microsoft.com/office/powerpoint/2010/main" val="29254387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0C9C36A7-5C45-9DB3-6908-B535F440D82F}"/>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2703AFF3-53BE-B0C1-FA5F-078795412C0C}"/>
              </a:ext>
            </a:extLst>
          </p:cNvPr>
          <p:cNvSpPr>
            <a:spLocks noGrp="1"/>
          </p:cNvSpPr>
          <p:nvPr>
            <p:ph type="sldNum" sz="quarter" idx="12"/>
          </p:nvPr>
        </p:nvSpPr>
        <p:spPr/>
        <p:txBody>
          <a:bodyPr/>
          <a:lstStyle/>
          <a:p>
            <a:fld id="{FF2CED2D-DE01-CB40-AEF5-C9DD7CD06225}" type="slidenum">
              <a:rPr lang="es-ES" smtClean="0"/>
              <a:pPr/>
              <a:t>46</a:t>
            </a:fld>
            <a:endParaRPr lang="es-ES"/>
          </a:p>
        </p:txBody>
      </p:sp>
      <p:sp>
        <p:nvSpPr>
          <p:cNvPr id="6" name="Marcador de posición de imagen 5">
            <a:extLst>
              <a:ext uri="{FF2B5EF4-FFF2-40B4-BE49-F238E27FC236}">
                <a16:creationId xmlns:a16="http://schemas.microsoft.com/office/drawing/2014/main" id="{1DF71696-D788-B943-01DC-E5E4916F802D}"/>
              </a:ext>
            </a:extLst>
          </p:cNvPr>
          <p:cNvSpPr>
            <a:spLocks noGrp="1"/>
          </p:cNvSpPr>
          <p:nvPr>
            <p:ph type="pic" sz="quarter" idx="21"/>
          </p:nvPr>
        </p:nvSpPr>
        <p:spPr/>
        <p:txBody>
          <a:bodyPr/>
          <a:lstStyle/>
          <a:p>
            <a:endParaRPr lang="en-GB"/>
          </a:p>
        </p:txBody>
      </p:sp>
    </p:spTree>
    <p:extLst>
      <p:ext uri="{BB962C8B-B14F-4D97-AF65-F5344CB8AC3E}">
        <p14:creationId xmlns:p14="http://schemas.microsoft.com/office/powerpoint/2010/main" val="37283759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E2B224AF-1489-2455-B223-64AD43494F2D}"/>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980DED3B-BD8F-A0F8-C8B2-6562D63C4596}"/>
              </a:ext>
            </a:extLst>
          </p:cNvPr>
          <p:cNvSpPr>
            <a:spLocks noGrp="1"/>
          </p:cNvSpPr>
          <p:nvPr>
            <p:ph type="sldNum" sz="quarter" idx="12"/>
          </p:nvPr>
        </p:nvSpPr>
        <p:spPr/>
        <p:txBody>
          <a:bodyPr/>
          <a:lstStyle/>
          <a:p>
            <a:fld id="{FF2CED2D-DE01-CB40-AEF5-C9DD7CD06225}" type="slidenum">
              <a:rPr lang="es-ES" smtClean="0"/>
              <a:pPr/>
              <a:t>47</a:t>
            </a:fld>
            <a:endParaRPr lang="es-ES"/>
          </a:p>
        </p:txBody>
      </p:sp>
      <p:sp>
        <p:nvSpPr>
          <p:cNvPr id="4" name="Marcador de texto 3">
            <a:extLst>
              <a:ext uri="{FF2B5EF4-FFF2-40B4-BE49-F238E27FC236}">
                <a16:creationId xmlns:a16="http://schemas.microsoft.com/office/drawing/2014/main" id="{DB11F68B-51B8-1CC8-5FDF-656A0126D595}"/>
              </a:ext>
            </a:extLst>
          </p:cNvPr>
          <p:cNvSpPr>
            <a:spLocks noGrp="1"/>
          </p:cNvSpPr>
          <p:nvPr>
            <p:ph type="body" sz="quarter" idx="17"/>
          </p:nvPr>
        </p:nvSpPr>
        <p:spPr/>
        <p:txBody>
          <a:bodyPr/>
          <a:lstStyle/>
          <a:p>
            <a:endParaRPr lang="en-GB"/>
          </a:p>
        </p:txBody>
      </p:sp>
      <p:sp>
        <p:nvSpPr>
          <p:cNvPr id="5" name="Marcador de texto 4">
            <a:extLst>
              <a:ext uri="{FF2B5EF4-FFF2-40B4-BE49-F238E27FC236}">
                <a16:creationId xmlns:a16="http://schemas.microsoft.com/office/drawing/2014/main" id="{43480E42-B430-7649-C519-CFB974A0BE82}"/>
              </a:ext>
            </a:extLst>
          </p:cNvPr>
          <p:cNvSpPr>
            <a:spLocks noGrp="1"/>
          </p:cNvSpPr>
          <p:nvPr>
            <p:ph type="body" sz="quarter" idx="20"/>
          </p:nvPr>
        </p:nvSpPr>
        <p:spPr/>
        <p:txBody>
          <a:bodyPr/>
          <a:lstStyle/>
          <a:p>
            <a:endParaRPr lang="en-GB"/>
          </a:p>
        </p:txBody>
      </p:sp>
    </p:spTree>
    <p:extLst>
      <p:ext uri="{BB962C8B-B14F-4D97-AF65-F5344CB8AC3E}">
        <p14:creationId xmlns:p14="http://schemas.microsoft.com/office/powerpoint/2010/main" val="16239776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2ABCCD52-9A32-968E-4609-F20B3AFDABA9}"/>
              </a:ext>
            </a:extLst>
          </p:cNvPr>
          <p:cNvSpPr>
            <a:spLocks noGrp="1"/>
          </p:cNvSpPr>
          <p:nvPr>
            <p:ph type="body" sz="quarter" idx="19"/>
          </p:nvPr>
        </p:nvSpPr>
        <p:spPr/>
        <p:txBody>
          <a:bodyPr/>
          <a:lstStyle/>
          <a:p>
            <a:r>
              <a:rPr lang="es-ES"/>
              <a:t>FLYING FORWARD, TOGETHER</a:t>
            </a:r>
            <a:endParaRPr lang="en-GB"/>
          </a:p>
        </p:txBody>
      </p:sp>
    </p:spTree>
    <p:extLst>
      <p:ext uri="{BB962C8B-B14F-4D97-AF65-F5344CB8AC3E}">
        <p14:creationId xmlns:p14="http://schemas.microsoft.com/office/powerpoint/2010/main" val="21292056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9956CB9E-F712-0484-8EDD-9434598624A0}"/>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EAE0B289-FDCD-26DC-9A14-149A97C5DC1F}"/>
              </a:ext>
            </a:extLst>
          </p:cNvPr>
          <p:cNvSpPr>
            <a:spLocks noGrp="1"/>
          </p:cNvSpPr>
          <p:nvPr>
            <p:ph type="sldNum" sz="quarter" idx="12"/>
          </p:nvPr>
        </p:nvSpPr>
        <p:spPr/>
        <p:txBody>
          <a:bodyPr/>
          <a:lstStyle/>
          <a:p>
            <a:fld id="{FF2CED2D-DE01-CB40-AEF5-C9DD7CD06225}" type="slidenum">
              <a:rPr lang="es-ES" smtClean="0"/>
              <a:t>49</a:t>
            </a:fld>
            <a:endParaRPr lang="es-ES"/>
          </a:p>
        </p:txBody>
      </p:sp>
      <p:sp>
        <p:nvSpPr>
          <p:cNvPr id="9" name="Marcador de posición de imagen 8">
            <a:extLst>
              <a:ext uri="{FF2B5EF4-FFF2-40B4-BE49-F238E27FC236}">
                <a16:creationId xmlns:a16="http://schemas.microsoft.com/office/drawing/2014/main" id="{4129A778-951F-8620-F11E-6228663F6DC8}"/>
              </a:ext>
            </a:extLst>
          </p:cNvPr>
          <p:cNvSpPr>
            <a:spLocks noGrp="1"/>
          </p:cNvSpPr>
          <p:nvPr>
            <p:ph type="pic" sz="quarter" idx="21"/>
          </p:nvPr>
        </p:nvSpPr>
        <p:spPr/>
        <p:txBody>
          <a:bodyPr/>
          <a:lstStyle/>
          <a:p>
            <a:endParaRPr lang="en-GB"/>
          </a:p>
        </p:txBody>
      </p:sp>
      <p:sp>
        <p:nvSpPr>
          <p:cNvPr id="7" name="Marcador de texto 6">
            <a:extLst>
              <a:ext uri="{FF2B5EF4-FFF2-40B4-BE49-F238E27FC236}">
                <a16:creationId xmlns:a16="http://schemas.microsoft.com/office/drawing/2014/main" id="{8853B06C-B423-98D2-2975-D0DBB0693B42}"/>
              </a:ext>
            </a:extLst>
          </p:cNvPr>
          <p:cNvSpPr>
            <a:spLocks noGrp="1"/>
          </p:cNvSpPr>
          <p:nvPr>
            <p:ph type="body" sz="quarter" idx="14"/>
          </p:nvPr>
        </p:nvSpPr>
        <p:spPr/>
        <p:txBody>
          <a:bodyPr/>
          <a:lstStyle/>
          <a:p>
            <a:endParaRPr lang="en-GB"/>
          </a:p>
        </p:txBody>
      </p:sp>
      <p:sp>
        <p:nvSpPr>
          <p:cNvPr id="8" name="Marcador de texto 7">
            <a:extLst>
              <a:ext uri="{FF2B5EF4-FFF2-40B4-BE49-F238E27FC236}">
                <a16:creationId xmlns:a16="http://schemas.microsoft.com/office/drawing/2014/main" id="{6A067045-D41F-4D1D-9EFF-CD035E788D7E}"/>
              </a:ext>
            </a:extLst>
          </p:cNvPr>
          <p:cNvSpPr>
            <a:spLocks noGrp="1"/>
          </p:cNvSpPr>
          <p:nvPr>
            <p:ph type="body" sz="quarter" idx="16"/>
          </p:nvPr>
        </p:nvSpPr>
        <p:spPr/>
        <p:txBody>
          <a:bodyPr/>
          <a:lstStyle/>
          <a:p>
            <a:endParaRPr lang="en-GB"/>
          </a:p>
        </p:txBody>
      </p:sp>
    </p:spTree>
    <p:extLst>
      <p:ext uri="{BB962C8B-B14F-4D97-AF65-F5344CB8AC3E}">
        <p14:creationId xmlns:p14="http://schemas.microsoft.com/office/powerpoint/2010/main" val="3027662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3"/>
          </p:nvPr>
        </p:nvSpPr>
        <p:spPr/>
        <p:txBody>
          <a:bodyPr/>
          <a:lstStyle/>
          <a:p>
            <a:r>
              <a:rPr lang="es-ES" dirty="0" smtClean="0"/>
              <a:t>02</a:t>
            </a:r>
            <a:endParaRPr lang="es-ES" dirty="0"/>
          </a:p>
        </p:txBody>
      </p:sp>
      <p:sp>
        <p:nvSpPr>
          <p:cNvPr id="4" name="Marcador de pie de página 3"/>
          <p:cNvSpPr>
            <a:spLocks noGrp="1"/>
          </p:cNvSpPr>
          <p:nvPr>
            <p:ph type="ftr" sz="quarter" idx="11"/>
          </p:nvPr>
        </p:nvSpPr>
        <p:spPr/>
        <p:txBody>
          <a:bodyPr/>
          <a:lstStyle/>
          <a:p>
            <a:r>
              <a:rPr lang="es-ES"/>
              <a:t>Proprietary Information - Confidential</a:t>
            </a:r>
          </a:p>
        </p:txBody>
      </p:sp>
      <p:sp>
        <p:nvSpPr>
          <p:cNvPr id="5" name="Marcador de número de diapositiva 4"/>
          <p:cNvSpPr>
            <a:spLocks noGrp="1"/>
          </p:cNvSpPr>
          <p:nvPr>
            <p:ph type="sldNum" sz="quarter" idx="12"/>
          </p:nvPr>
        </p:nvSpPr>
        <p:spPr/>
        <p:txBody>
          <a:bodyPr/>
          <a:lstStyle/>
          <a:p>
            <a:fld id="{FF2CED2D-DE01-CB40-AEF5-C9DD7CD06225}" type="slidenum">
              <a:rPr lang="es-ES" smtClean="0"/>
              <a:t>5</a:t>
            </a:fld>
            <a:endParaRPr lang="es-ES"/>
          </a:p>
        </p:txBody>
      </p:sp>
      <p:sp>
        <p:nvSpPr>
          <p:cNvPr id="6" name="Marcador de texto 5"/>
          <p:cNvSpPr>
            <a:spLocks noGrp="1"/>
          </p:cNvSpPr>
          <p:nvPr>
            <p:ph type="body" sz="quarter" idx="19"/>
          </p:nvPr>
        </p:nvSpPr>
        <p:spPr/>
        <p:txBody>
          <a:bodyPr/>
          <a:lstStyle/>
          <a:p>
            <a:r>
              <a:rPr lang="en-GB" dirty="0" smtClean="0"/>
              <a:t>DIFICULTADES</a:t>
            </a:r>
            <a:endParaRPr lang="en-GB" dirty="0"/>
          </a:p>
          <a:p>
            <a:endParaRPr lang="es-ES" dirty="0"/>
          </a:p>
        </p:txBody>
      </p:sp>
      <p:sp>
        <p:nvSpPr>
          <p:cNvPr id="2" name="Marcador de posición de imagen 1"/>
          <p:cNvSpPr>
            <a:spLocks noGrp="1"/>
          </p:cNvSpPr>
          <p:nvPr>
            <p:ph type="pic" idx="1"/>
          </p:nvPr>
        </p:nvSpPr>
        <p:spPr>
          <a:xfrm>
            <a:off x="6211229" y="1"/>
            <a:ext cx="5980771" cy="6857999"/>
          </a:xfrm>
        </p:spPr>
      </p:sp>
      <p:pic>
        <p:nvPicPr>
          <p:cNvPr id="8" name="Imagen 7"/>
          <p:cNvPicPr/>
          <p:nvPr/>
        </p:nvPicPr>
        <p:blipFill>
          <a:blip r:embed="rId2" cstate="print">
            <a:extLst>
              <a:ext uri="{28A0092B-C50C-407E-A947-70E740481C1C}">
                <a14:useLocalDpi xmlns:a14="http://schemas.microsoft.com/office/drawing/2010/main" val="0"/>
              </a:ext>
            </a:extLst>
          </a:blip>
          <a:stretch>
            <a:fillRect/>
          </a:stretch>
        </p:blipFill>
        <p:spPr>
          <a:xfrm>
            <a:off x="6211228" y="-1"/>
            <a:ext cx="5980771" cy="6721475"/>
          </a:xfrm>
          <a:prstGeom prst="rect">
            <a:avLst/>
          </a:prstGeom>
        </p:spPr>
      </p:pic>
    </p:spTree>
    <p:extLst>
      <p:ext uri="{BB962C8B-B14F-4D97-AF65-F5344CB8AC3E}">
        <p14:creationId xmlns:p14="http://schemas.microsoft.com/office/powerpoint/2010/main" val="13368970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204565FD-AC82-4FEB-A14C-F387511A1833}"/>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8071BE7D-A76A-130C-A1A0-681D6B33F408}"/>
              </a:ext>
            </a:extLst>
          </p:cNvPr>
          <p:cNvSpPr>
            <a:spLocks noGrp="1"/>
          </p:cNvSpPr>
          <p:nvPr>
            <p:ph type="sldNum" sz="quarter" idx="12"/>
          </p:nvPr>
        </p:nvSpPr>
        <p:spPr/>
        <p:txBody>
          <a:bodyPr/>
          <a:lstStyle/>
          <a:p>
            <a:fld id="{FF2CED2D-DE01-CB40-AEF5-C9DD7CD06225}" type="slidenum">
              <a:rPr lang="es-ES" smtClean="0"/>
              <a:pPr/>
              <a:t>50</a:t>
            </a:fld>
            <a:endParaRPr lang="es-ES"/>
          </a:p>
        </p:txBody>
      </p:sp>
      <p:sp>
        <p:nvSpPr>
          <p:cNvPr id="13" name="Marcador de texto 12">
            <a:extLst>
              <a:ext uri="{FF2B5EF4-FFF2-40B4-BE49-F238E27FC236}">
                <a16:creationId xmlns:a16="http://schemas.microsoft.com/office/drawing/2014/main" id="{31FA582E-5B5F-06E6-D7A5-436DE2256BF6}"/>
              </a:ext>
            </a:extLst>
          </p:cNvPr>
          <p:cNvSpPr>
            <a:spLocks noGrp="1"/>
          </p:cNvSpPr>
          <p:nvPr>
            <p:ph type="body" sz="quarter" idx="17"/>
          </p:nvPr>
        </p:nvSpPr>
        <p:spPr/>
        <p:txBody>
          <a:bodyPr/>
          <a:lstStyle/>
          <a:p>
            <a:endParaRPr lang="en-GB"/>
          </a:p>
        </p:txBody>
      </p:sp>
      <p:sp>
        <p:nvSpPr>
          <p:cNvPr id="14" name="Marcador de texto 13">
            <a:extLst>
              <a:ext uri="{FF2B5EF4-FFF2-40B4-BE49-F238E27FC236}">
                <a16:creationId xmlns:a16="http://schemas.microsoft.com/office/drawing/2014/main" id="{52EEA5D6-BD92-D8C1-2B04-BAD6351E344C}"/>
              </a:ext>
            </a:extLst>
          </p:cNvPr>
          <p:cNvSpPr>
            <a:spLocks noGrp="1"/>
          </p:cNvSpPr>
          <p:nvPr>
            <p:ph type="body" sz="quarter" idx="20"/>
          </p:nvPr>
        </p:nvSpPr>
        <p:spPr/>
        <p:txBody>
          <a:bodyPr/>
          <a:lstStyle/>
          <a:p>
            <a:endParaRPr lang="en-GB"/>
          </a:p>
        </p:txBody>
      </p:sp>
      <p:sp>
        <p:nvSpPr>
          <p:cNvPr id="15" name="Marcador de texto 14">
            <a:extLst>
              <a:ext uri="{FF2B5EF4-FFF2-40B4-BE49-F238E27FC236}">
                <a16:creationId xmlns:a16="http://schemas.microsoft.com/office/drawing/2014/main" id="{48DCAD02-CA4D-8B5B-3F5D-E90DD91DB41D}"/>
              </a:ext>
            </a:extLst>
          </p:cNvPr>
          <p:cNvSpPr>
            <a:spLocks noGrp="1"/>
          </p:cNvSpPr>
          <p:nvPr>
            <p:ph type="body" sz="quarter" idx="21"/>
          </p:nvPr>
        </p:nvSpPr>
        <p:spPr/>
        <p:txBody>
          <a:bodyPr/>
          <a:lstStyle/>
          <a:p>
            <a:endParaRPr lang="en-GB"/>
          </a:p>
        </p:txBody>
      </p:sp>
      <p:sp>
        <p:nvSpPr>
          <p:cNvPr id="16" name="Marcador de texto 15">
            <a:extLst>
              <a:ext uri="{FF2B5EF4-FFF2-40B4-BE49-F238E27FC236}">
                <a16:creationId xmlns:a16="http://schemas.microsoft.com/office/drawing/2014/main" id="{D3B2EF67-1939-B3C4-29DE-A982FB4F5515}"/>
              </a:ext>
            </a:extLst>
          </p:cNvPr>
          <p:cNvSpPr>
            <a:spLocks noGrp="1"/>
          </p:cNvSpPr>
          <p:nvPr>
            <p:ph type="body" sz="quarter" idx="22"/>
          </p:nvPr>
        </p:nvSpPr>
        <p:spPr/>
        <p:txBody>
          <a:bodyPr/>
          <a:lstStyle/>
          <a:p>
            <a:endParaRPr lang="en-GB"/>
          </a:p>
        </p:txBody>
      </p:sp>
      <p:sp>
        <p:nvSpPr>
          <p:cNvPr id="17" name="Marcador de texto 16">
            <a:extLst>
              <a:ext uri="{FF2B5EF4-FFF2-40B4-BE49-F238E27FC236}">
                <a16:creationId xmlns:a16="http://schemas.microsoft.com/office/drawing/2014/main" id="{4698BE9F-B974-7593-6DB1-3A05CF764C7B}"/>
              </a:ext>
            </a:extLst>
          </p:cNvPr>
          <p:cNvSpPr>
            <a:spLocks noGrp="1"/>
          </p:cNvSpPr>
          <p:nvPr>
            <p:ph type="body" sz="quarter" idx="23"/>
          </p:nvPr>
        </p:nvSpPr>
        <p:spPr/>
        <p:txBody>
          <a:bodyPr/>
          <a:lstStyle/>
          <a:p>
            <a:endParaRPr lang="en-GB"/>
          </a:p>
        </p:txBody>
      </p:sp>
      <p:sp>
        <p:nvSpPr>
          <p:cNvPr id="18" name="Marcador de texto 17">
            <a:extLst>
              <a:ext uri="{FF2B5EF4-FFF2-40B4-BE49-F238E27FC236}">
                <a16:creationId xmlns:a16="http://schemas.microsoft.com/office/drawing/2014/main" id="{7216F414-1FBD-6792-9FBE-1579A04D0855}"/>
              </a:ext>
            </a:extLst>
          </p:cNvPr>
          <p:cNvSpPr>
            <a:spLocks noGrp="1"/>
          </p:cNvSpPr>
          <p:nvPr>
            <p:ph type="body" sz="quarter" idx="24"/>
          </p:nvPr>
        </p:nvSpPr>
        <p:spPr/>
        <p:txBody>
          <a:bodyPr/>
          <a:lstStyle/>
          <a:p>
            <a:endParaRPr lang="en-GB"/>
          </a:p>
        </p:txBody>
      </p:sp>
      <p:sp>
        <p:nvSpPr>
          <p:cNvPr id="19" name="Marcador de posición de imagen 18">
            <a:extLst>
              <a:ext uri="{FF2B5EF4-FFF2-40B4-BE49-F238E27FC236}">
                <a16:creationId xmlns:a16="http://schemas.microsoft.com/office/drawing/2014/main" id="{15955D83-CB22-52F6-4B59-C50A6925454E}"/>
              </a:ext>
            </a:extLst>
          </p:cNvPr>
          <p:cNvSpPr>
            <a:spLocks noGrp="1"/>
          </p:cNvSpPr>
          <p:nvPr>
            <p:ph type="pic" sz="quarter" idx="25"/>
          </p:nvPr>
        </p:nvSpPr>
        <p:spPr>
          <a:xfrm>
            <a:off x="717452" y="660400"/>
            <a:ext cx="3446463" cy="2024063"/>
          </a:xfrm>
        </p:spPr>
        <p:txBody>
          <a:bodyPr/>
          <a:lstStyle/>
          <a:p>
            <a:endParaRPr lang="en-GB"/>
          </a:p>
        </p:txBody>
      </p:sp>
      <p:sp>
        <p:nvSpPr>
          <p:cNvPr id="20" name="Marcador de posición de imagen 19">
            <a:extLst>
              <a:ext uri="{FF2B5EF4-FFF2-40B4-BE49-F238E27FC236}">
                <a16:creationId xmlns:a16="http://schemas.microsoft.com/office/drawing/2014/main" id="{A95CAEF7-A1B3-BBBE-DF5F-2BB1404D41B4}"/>
              </a:ext>
            </a:extLst>
          </p:cNvPr>
          <p:cNvSpPr>
            <a:spLocks noGrp="1"/>
          </p:cNvSpPr>
          <p:nvPr>
            <p:ph type="pic" sz="quarter" idx="26"/>
          </p:nvPr>
        </p:nvSpPr>
        <p:spPr/>
        <p:txBody>
          <a:bodyPr/>
          <a:lstStyle/>
          <a:p>
            <a:endParaRPr lang="en-GB"/>
          </a:p>
        </p:txBody>
      </p:sp>
      <p:sp>
        <p:nvSpPr>
          <p:cNvPr id="21" name="Marcador de posición de imagen 20">
            <a:extLst>
              <a:ext uri="{FF2B5EF4-FFF2-40B4-BE49-F238E27FC236}">
                <a16:creationId xmlns:a16="http://schemas.microsoft.com/office/drawing/2014/main" id="{1FA5F7C5-5BC6-CFBD-8118-51B771F36661}"/>
              </a:ext>
            </a:extLst>
          </p:cNvPr>
          <p:cNvSpPr>
            <a:spLocks noGrp="1"/>
          </p:cNvSpPr>
          <p:nvPr>
            <p:ph type="pic" sz="quarter" idx="27"/>
          </p:nvPr>
        </p:nvSpPr>
        <p:spPr/>
        <p:txBody>
          <a:bodyPr/>
          <a:lstStyle/>
          <a:p>
            <a:endParaRPr lang="en-GB"/>
          </a:p>
        </p:txBody>
      </p:sp>
    </p:spTree>
    <p:extLst>
      <p:ext uri="{BB962C8B-B14F-4D97-AF65-F5344CB8AC3E}">
        <p14:creationId xmlns:p14="http://schemas.microsoft.com/office/powerpoint/2010/main" val="27660566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C13FE380-6E6B-95E3-E0D3-0A5E8F3FF010}"/>
              </a:ext>
            </a:extLst>
          </p:cNvPr>
          <p:cNvSpPr>
            <a:spLocks noGrp="1"/>
          </p:cNvSpPr>
          <p:nvPr>
            <p:ph type="body" sz="quarter" idx="24"/>
          </p:nvPr>
        </p:nvSpPr>
        <p:spPr/>
        <p:txBody>
          <a:bodyPr/>
          <a:lstStyle/>
          <a:p>
            <a:endParaRPr lang="en-GB"/>
          </a:p>
        </p:txBody>
      </p:sp>
      <p:sp>
        <p:nvSpPr>
          <p:cNvPr id="2" name="Marcador de pie de página 1">
            <a:extLst>
              <a:ext uri="{FF2B5EF4-FFF2-40B4-BE49-F238E27FC236}">
                <a16:creationId xmlns:a16="http://schemas.microsoft.com/office/drawing/2014/main" id="{8B884278-EC19-8F44-E37D-B19FA736A038}"/>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443B56AD-5A69-FCA1-C3BF-622D4CAB16A2}"/>
              </a:ext>
            </a:extLst>
          </p:cNvPr>
          <p:cNvSpPr>
            <a:spLocks noGrp="1"/>
          </p:cNvSpPr>
          <p:nvPr>
            <p:ph type="sldNum" sz="quarter" idx="12"/>
          </p:nvPr>
        </p:nvSpPr>
        <p:spPr/>
        <p:txBody>
          <a:bodyPr/>
          <a:lstStyle/>
          <a:p>
            <a:fld id="{FF2CED2D-DE01-CB40-AEF5-C9DD7CD06225}" type="slidenum">
              <a:rPr lang="es-ES" smtClean="0"/>
              <a:pPr/>
              <a:t>51</a:t>
            </a:fld>
            <a:endParaRPr lang="es-ES"/>
          </a:p>
        </p:txBody>
      </p:sp>
      <p:sp>
        <p:nvSpPr>
          <p:cNvPr id="11" name="Marcador de texto 10">
            <a:extLst>
              <a:ext uri="{FF2B5EF4-FFF2-40B4-BE49-F238E27FC236}">
                <a16:creationId xmlns:a16="http://schemas.microsoft.com/office/drawing/2014/main" id="{D80D74A4-8C02-8FC8-13F8-4807735EC59A}"/>
              </a:ext>
            </a:extLst>
          </p:cNvPr>
          <p:cNvSpPr>
            <a:spLocks noGrp="1"/>
          </p:cNvSpPr>
          <p:nvPr>
            <p:ph type="body" sz="quarter" idx="27"/>
          </p:nvPr>
        </p:nvSpPr>
        <p:spPr/>
        <p:txBody>
          <a:bodyPr/>
          <a:lstStyle/>
          <a:p>
            <a:endParaRPr lang="en-GB"/>
          </a:p>
        </p:txBody>
      </p:sp>
      <p:sp>
        <p:nvSpPr>
          <p:cNvPr id="7" name="Rectángulo 6">
            <a:extLst>
              <a:ext uri="{FF2B5EF4-FFF2-40B4-BE49-F238E27FC236}">
                <a16:creationId xmlns:a16="http://schemas.microsoft.com/office/drawing/2014/main" id="{4132F9C4-7FB1-EB30-2FB1-46C731D9072E}"/>
              </a:ext>
            </a:extLst>
          </p:cNvPr>
          <p:cNvSpPr/>
          <p:nvPr/>
        </p:nvSpPr>
        <p:spPr>
          <a:xfrm>
            <a:off x="645732" y="2506828"/>
            <a:ext cx="2543962" cy="2959260"/>
          </a:xfrm>
          <a:prstGeom prst="rect">
            <a:avLst/>
          </a:prstGeom>
          <a:solidFill>
            <a:srgbClr val="DCD0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Rectángulo 7">
            <a:extLst>
              <a:ext uri="{FF2B5EF4-FFF2-40B4-BE49-F238E27FC236}">
                <a16:creationId xmlns:a16="http://schemas.microsoft.com/office/drawing/2014/main" id="{8C1BFB07-B25C-07C7-0449-4DFE179A62C3}"/>
              </a:ext>
            </a:extLst>
          </p:cNvPr>
          <p:cNvSpPr/>
          <p:nvPr/>
        </p:nvSpPr>
        <p:spPr>
          <a:xfrm>
            <a:off x="3431767" y="3597874"/>
            <a:ext cx="2543962" cy="1868214"/>
          </a:xfrm>
          <a:prstGeom prst="rect">
            <a:avLst/>
          </a:prstGeom>
          <a:solidFill>
            <a:srgbClr val="BCD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Rectángulo 8">
            <a:extLst>
              <a:ext uri="{FF2B5EF4-FFF2-40B4-BE49-F238E27FC236}">
                <a16:creationId xmlns:a16="http://schemas.microsoft.com/office/drawing/2014/main" id="{C7A795C3-CC27-E264-3C1C-02A25EAEB390}"/>
              </a:ext>
            </a:extLst>
          </p:cNvPr>
          <p:cNvSpPr/>
          <p:nvPr/>
        </p:nvSpPr>
        <p:spPr>
          <a:xfrm>
            <a:off x="6217802" y="2506828"/>
            <a:ext cx="2543962" cy="2959260"/>
          </a:xfrm>
          <a:prstGeom prst="rect">
            <a:avLst/>
          </a:prstGeom>
          <a:solidFill>
            <a:srgbClr val="DCD0C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Rectángulo 9">
            <a:extLst>
              <a:ext uri="{FF2B5EF4-FFF2-40B4-BE49-F238E27FC236}">
                <a16:creationId xmlns:a16="http://schemas.microsoft.com/office/drawing/2014/main" id="{E4BFB5D2-0CA5-5003-B9B8-45E7B195CFFA}"/>
              </a:ext>
            </a:extLst>
          </p:cNvPr>
          <p:cNvSpPr/>
          <p:nvPr/>
        </p:nvSpPr>
        <p:spPr>
          <a:xfrm>
            <a:off x="9003836" y="2506828"/>
            <a:ext cx="2543962" cy="1516715"/>
          </a:xfrm>
          <a:prstGeom prst="rect">
            <a:avLst/>
          </a:prstGeom>
          <a:solidFill>
            <a:srgbClr val="BCD3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2" name="Conector recto 11">
            <a:extLst>
              <a:ext uri="{FF2B5EF4-FFF2-40B4-BE49-F238E27FC236}">
                <a16:creationId xmlns:a16="http://schemas.microsoft.com/office/drawing/2014/main" id="{EA567630-EF68-A9FA-B4B1-DFEE76940EDF}"/>
              </a:ext>
            </a:extLst>
          </p:cNvPr>
          <p:cNvCxnSpPr>
            <a:cxnSpLocks/>
          </p:cNvCxnSpPr>
          <p:nvPr/>
        </p:nvCxnSpPr>
        <p:spPr>
          <a:xfrm flipH="1">
            <a:off x="899666" y="5061896"/>
            <a:ext cx="1992861" cy="0"/>
          </a:xfrm>
          <a:prstGeom prst="line">
            <a:avLst/>
          </a:prstGeom>
          <a:ln w="9525"/>
        </p:spPr>
        <p:style>
          <a:lnRef idx="2">
            <a:schemeClr val="dk1"/>
          </a:lnRef>
          <a:fillRef idx="0">
            <a:schemeClr val="dk1"/>
          </a:fillRef>
          <a:effectRef idx="1">
            <a:schemeClr val="dk1"/>
          </a:effectRef>
          <a:fontRef idx="minor">
            <a:schemeClr val="tx1"/>
          </a:fontRef>
        </p:style>
      </p:cxnSp>
      <p:cxnSp>
        <p:nvCxnSpPr>
          <p:cNvPr id="13" name="Conector recto 12">
            <a:extLst>
              <a:ext uri="{FF2B5EF4-FFF2-40B4-BE49-F238E27FC236}">
                <a16:creationId xmlns:a16="http://schemas.microsoft.com/office/drawing/2014/main" id="{75AE464C-C9F1-F0D1-4E46-AF628BBB4FF3}"/>
              </a:ext>
            </a:extLst>
          </p:cNvPr>
          <p:cNvCxnSpPr>
            <a:cxnSpLocks/>
          </p:cNvCxnSpPr>
          <p:nvPr/>
        </p:nvCxnSpPr>
        <p:spPr>
          <a:xfrm flipH="1">
            <a:off x="3713811" y="5061896"/>
            <a:ext cx="1992861" cy="0"/>
          </a:xfrm>
          <a:prstGeom prst="line">
            <a:avLst/>
          </a:prstGeom>
          <a:ln w="9525"/>
        </p:spPr>
        <p:style>
          <a:lnRef idx="2">
            <a:schemeClr val="dk1"/>
          </a:lnRef>
          <a:fillRef idx="0">
            <a:schemeClr val="dk1"/>
          </a:fillRef>
          <a:effectRef idx="1">
            <a:schemeClr val="dk1"/>
          </a:effectRef>
          <a:fontRef idx="minor">
            <a:schemeClr val="tx1"/>
          </a:fontRef>
        </p:style>
      </p:cxnSp>
      <p:cxnSp>
        <p:nvCxnSpPr>
          <p:cNvPr id="14" name="Conector recto 13">
            <a:extLst>
              <a:ext uri="{FF2B5EF4-FFF2-40B4-BE49-F238E27FC236}">
                <a16:creationId xmlns:a16="http://schemas.microsoft.com/office/drawing/2014/main" id="{A5FBE3FF-9CD4-6E5E-F25C-9B004D4BFE1E}"/>
              </a:ext>
            </a:extLst>
          </p:cNvPr>
          <p:cNvCxnSpPr>
            <a:cxnSpLocks/>
          </p:cNvCxnSpPr>
          <p:nvPr/>
        </p:nvCxnSpPr>
        <p:spPr>
          <a:xfrm flipH="1">
            <a:off x="6496425" y="5061896"/>
            <a:ext cx="1992861" cy="0"/>
          </a:xfrm>
          <a:prstGeom prst="line">
            <a:avLst/>
          </a:prstGeom>
          <a:ln w="9525"/>
        </p:spPr>
        <p:style>
          <a:lnRef idx="2">
            <a:schemeClr val="dk1"/>
          </a:lnRef>
          <a:fillRef idx="0">
            <a:schemeClr val="dk1"/>
          </a:fillRef>
          <a:effectRef idx="1">
            <a:schemeClr val="dk1"/>
          </a:effectRef>
          <a:fontRef idx="minor">
            <a:schemeClr val="tx1"/>
          </a:fontRef>
        </p:style>
      </p:cxnSp>
      <p:cxnSp>
        <p:nvCxnSpPr>
          <p:cNvPr id="15" name="Conector recto 14">
            <a:extLst>
              <a:ext uri="{FF2B5EF4-FFF2-40B4-BE49-F238E27FC236}">
                <a16:creationId xmlns:a16="http://schemas.microsoft.com/office/drawing/2014/main" id="{65974688-CD90-E7C4-F9A7-273471E45B47}"/>
              </a:ext>
            </a:extLst>
          </p:cNvPr>
          <p:cNvCxnSpPr>
            <a:cxnSpLocks/>
          </p:cNvCxnSpPr>
          <p:nvPr/>
        </p:nvCxnSpPr>
        <p:spPr>
          <a:xfrm flipH="1">
            <a:off x="9279038" y="3619351"/>
            <a:ext cx="1992861" cy="0"/>
          </a:xfrm>
          <a:prstGeom prst="line">
            <a:avLst/>
          </a:prstGeom>
          <a:ln w="9525"/>
        </p:spPr>
        <p:style>
          <a:lnRef idx="2">
            <a:schemeClr val="dk1"/>
          </a:lnRef>
          <a:fillRef idx="0">
            <a:schemeClr val="dk1"/>
          </a:fillRef>
          <a:effectRef idx="1">
            <a:schemeClr val="dk1"/>
          </a:effectRef>
          <a:fontRef idx="minor">
            <a:schemeClr val="tx1"/>
          </a:fontRef>
        </p:style>
      </p:cxnSp>
      <p:grpSp>
        <p:nvGrpSpPr>
          <p:cNvPr id="4" name="Grupo 3"/>
          <p:cNvGrpSpPr/>
          <p:nvPr/>
        </p:nvGrpSpPr>
        <p:grpSpPr>
          <a:xfrm>
            <a:off x="817459" y="2579660"/>
            <a:ext cx="1992861" cy="2804191"/>
            <a:chOff x="817459" y="2579660"/>
            <a:chExt cx="1992861" cy="2804191"/>
          </a:xfrm>
        </p:grpSpPr>
        <p:sp>
          <p:nvSpPr>
            <p:cNvPr id="16" name="CuadroTexto 15">
              <a:extLst>
                <a:ext uri="{FF2B5EF4-FFF2-40B4-BE49-F238E27FC236}">
                  <a16:creationId xmlns:a16="http://schemas.microsoft.com/office/drawing/2014/main" id="{BB3904A3-E4EB-A5C8-5B13-01F76874FAED}"/>
                </a:ext>
              </a:extLst>
            </p:cNvPr>
            <p:cNvSpPr txBox="1"/>
            <p:nvPr/>
          </p:nvSpPr>
          <p:spPr>
            <a:xfrm>
              <a:off x="817459" y="5122241"/>
              <a:ext cx="1992861" cy="261610"/>
            </a:xfrm>
            <a:prstGeom prst="rect">
              <a:avLst/>
            </a:prstGeom>
            <a:noFill/>
          </p:spPr>
          <p:txBody>
            <a:bodyPr wrap="square">
              <a:spAutoFit/>
            </a:bodyPr>
            <a:lstStyle/>
            <a:p>
              <a:r>
                <a:rPr lang="es-ES" sz="1050" b="1">
                  <a:latin typeface="Arial Narrow" panose="020B0604020202020204" pitchFamily="34" charset="0"/>
                </a:rPr>
                <a:t>OPTION 1</a:t>
              </a:r>
            </a:p>
          </p:txBody>
        </p:sp>
        <p:sp>
          <p:nvSpPr>
            <p:cNvPr id="20" name="CuadroTexto 19">
              <a:extLst>
                <a:ext uri="{FF2B5EF4-FFF2-40B4-BE49-F238E27FC236}">
                  <a16:creationId xmlns:a16="http://schemas.microsoft.com/office/drawing/2014/main" id="{C04855C5-5E97-6D91-2D7A-93782EAB2045}"/>
                </a:ext>
              </a:extLst>
            </p:cNvPr>
            <p:cNvSpPr txBox="1"/>
            <p:nvPr/>
          </p:nvSpPr>
          <p:spPr>
            <a:xfrm>
              <a:off x="817459" y="2579660"/>
              <a:ext cx="1992861" cy="923330"/>
            </a:xfrm>
            <a:prstGeom prst="rect">
              <a:avLst/>
            </a:prstGeom>
            <a:noFill/>
          </p:spPr>
          <p:txBody>
            <a:bodyPr wrap="square">
              <a:spAutoFit/>
            </a:bodyPr>
            <a:lstStyle/>
            <a:p>
              <a:r>
                <a:rPr lang="es-ES" sz="5400" b="1">
                  <a:latin typeface="Arial Narrow" panose="020B0604020202020204" pitchFamily="34" charset="0"/>
                </a:rPr>
                <a:t>+23</a:t>
              </a:r>
              <a:endParaRPr lang="es-ES" sz="5400">
                <a:latin typeface="Arial" panose="020B0604020202020204" pitchFamily="34" charset="0"/>
                <a:cs typeface="Arial" panose="020B0604020202020204" pitchFamily="34" charset="0"/>
              </a:endParaRPr>
            </a:p>
          </p:txBody>
        </p:sp>
      </p:grpSp>
      <p:grpSp>
        <p:nvGrpSpPr>
          <p:cNvPr id="29" name="Grupo 28"/>
          <p:cNvGrpSpPr/>
          <p:nvPr/>
        </p:nvGrpSpPr>
        <p:grpSpPr>
          <a:xfrm>
            <a:off x="6382013" y="2579660"/>
            <a:ext cx="2287365" cy="2804191"/>
            <a:chOff x="6382013" y="2579660"/>
            <a:chExt cx="2287365" cy="2804191"/>
          </a:xfrm>
        </p:grpSpPr>
        <p:sp>
          <p:nvSpPr>
            <p:cNvPr id="18" name="CuadroTexto 17">
              <a:extLst>
                <a:ext uri="{FF2B5EF4-FFF2-40B4-BE49-F238E27FC236}">
                  <a16:creationId xmlns:a16="http://schemas.microsoft.com/office/drawing/2014/main" id="{AB33B902-4C9E-16D2-7F57-4C9AB10BFB72}"/>
                </a:ext>
              </a:extLst>
            </p:cNvPr>
            <p:cNvSpPr txBox="1"/>
            <p:nvPr/>
          </p:nvSpPr>
          <p:spPr>
            <a:xfrm>
              <a:off x="6414217" y="5122241"/>
              <a:ext cx="1992861" cy="261610"/>
            </a:xfrm>
            <a:prstGeom prst="rect">
              <a:avLst/>
            </a:prstGeom>
            <a:noFill/>
          </p:spPr>
          <p:txBody>
            <a:bodyPr wrap="square">
              <a:spAutoFit/>
            </a:bodyPr>
            <a:lstStyle/>
            <a:p>
              <a:r>
                <a:rPr lang="es-ES" sz="1050" b="1">
                  <a:latin typeface="Arial Narrow" panose="020B0604020202020204" pitchFamily="34" charset="0"/>
                </a:rPr>
                <a:t>OPTION 3</a:t>
              </a:r>
            </a:p>
          </p:txBody>
        </p:sp>
        <p:sp>
          <p:nvSpPr>
            <p:cNvPr id="21" name="CuadroTexto 20">
              <a:extLst>
                <a:ext uri="{FF2B5EF4-FFF2-40B4-BE49-F238E27FC236}">
                  <a16:creationId xmlns:a16="http://schemas.microsoft.com/office/drawing/2014/main" id="{B4CCD08E-BA5D-7F24-372E-BC588F40422B}"/>
                </a:ext>
              </a:extLst>
            </p:cNvPr>
            <p:cNvSpPr txBox="1"/>
            <p:nvPr/>
          </p:nvSpPr>
          <p:spPr>
            <a:xfrm>
              <a:off x="6382013" y="2579660"/>
              <a:ext cx="2287365" cy="923330"/>
            </a:xfrm>
            <a:prstGeom prst="rect">
              <a:avLst/>
            </a:prstGeom>
            <a:noFill/>
          </p:spPr>
          <p:txBody>
            <a:bodyPr wrap="square">
              <a:spAutoFit/>
            </a:bodyPr>
            <a:lstStyle/>
            <a:p>
              <a:r>
                <a:rPr lang="es-ES" sz="5400" b="1">
                  <a:latin typeface="Arial Narrow" panose="020B0604020202020204" pitchFamily="34" charset="0"/>
                </a:rPr>
                <a:t>+900</a:t>
              </a:r>
              <a:endParaRPr lang="es-ES" sz="5400">
                <a:latin typeface="Arial" panose="020B0604020202020204" pitchFamily="34" charset="0"/>
                <a:cs typeface="Arial" panose="020B0604020202020204" pitchFamily="34" charset="0"/>
              </a:endParaRPr>
            </a:p>
          </p:txBody>
        </p:sp>
      </p:grpSp>
      <p:grpSp>
        <p:nvGrpSpPr>
          <p:cNvPr id="5" name="Grupo 4"/>
          <p:cNvGrpSpPr/>
          <p:nvPr/>
        </p:nvGrpSpPr>
        <p:grpSpPr>
          <a:xfrm>
            <a:off x="3631604" y="3689445"/>
            <a:ext cx="2007886" cy="1694406"/>
            <a:chOff x="3631604" y="3689445"/>
            <a:chExt cx="2007886" cy="1694406"/>
          </a:xfrm>
        </p:grpSpPr>
        <p:sp>
          <p:nvSpPr>
            <p:cNvPr id="17" name="CuadroTexto 16">
              <a:extLst>
                <a:ext uri="{FF2B5EF4-FFF2-40B4-BE49-F238E27FC236}">
                  <a16:creationId xmlns:a16="http://schemas.microsoft.com/office/drawing/2014/main" id="{9A943ABF-DBA2-44E2-D805-DC4FF663FDBD}"/>
                </a:ext>
              </a:extLst>
            </p:cNvPr>
            <p:cNvSpPr txBox="1"/>
            <p:nvPr/>
          </p:nvSpPr>
          <p:spPr>
            <a:xfrm>
              <a:off x="3631604" y="5122241"/>
              <a:ext cx="1992861" cy="261610"/>
            </a:xfrm>
            <a:prstGeom prst="rect">
              <a:avLst/>
            </a:prstGeom>
            <a:noFill/>
          </p:spPr>
          <p:txBody>
            <a:bodyPr wrap="square">
              <a:spAutoFit/>
            </a:bodyPr>
            <a:lstStyle/>
            <a:p>
              <a:r>
                <a:rPr lang="es-ES" sz="1050" b="1">
                  <a:latin typeface="Arial Narrow" panose="020B0604020202020204" pitchFamily="34" charset="0"/>
                </a:rPr>
                <a:t>OPTION 2</a:t>
              </a:r>
            </a:p>
          </p:txBody>
        </p:sp>
        <p:sp>
          <p:nvSpPr>
            <p:cNvPr id="22" name="CuadroTexto 21">
              <a:extLst>
                <a:ext uri="{FF2B5EF4-FFF2-40B4-BE49-F238E27FC236}">
                  <a16:creationId xmlns:a16="http://schemas.microsoft.com/office/drawing/2014/main" id="{4DB45277-26EC-F97E-8DEB-733E080D05AA}"/>
                </a:ext>
              </a:extLst>
            </p:cNvPr>
            <p:cNvSpPr txBox="1"/>
            <p:nvPr/>
          </p:nvSpPr>
          <p:spPr>
            <a:xfrm>
              <a:off x="3646629" y="3689445"/>
              <a:ext cx="1992861" cy="923330"/>
            </a:xfrm>
            <a:prstGeom prst="rect">
              <a:avLst/>
            </a:prstGeom>
            <a:noFill/>
          </p:spPr>
          <p:txBody>
            <a:bodyPr wrap="square">
              <a:spAutoFit/>
            </a:bodyPr>
            <a:lstStyle/>
            <a:p>
              <a:r>
                <a:rPr lang="es-ES" sz="5400" b="1">
                  <a:latin typeface="Arial Narrow" panose="020B0604020202020204" pitchFamily="34" charset="0"/>
                  <a:cs typeface="Arial" panose="020B0604020202020204" pitchFamily="34" charset="0"/>
                </a:rPr>
                <a:t>1.4M</a:t>
              </a:r>
              <a:endParaRPr lang="es-ES" sz="5400">
                <a:latin typeface="Arial" panose="020B0604020202020204" pitchFamily="34" charset="0"/>
                <a:cs typeface="Arial" panose="020B0604020202020204" pitchFamily="34" charset="0"/>
              </a:endParaRPr>
            </a:p>
          </p:txBody>
        </p:sp>
      </p:grpSp>
      <p:grpSp>
        <p:nvGrpSpPr>
          <p:cNvPr id="30" name="Grupo 29"/>
          <p:cNvGrpSpPr/>
          <p:nvPr/>
        </p:nvGrpSpPr>
        <p:grpSpPr>
          <a:xfrm>
            <a:off x="9179921" y="2579660"/>
            <a:ext cx="2287365" cy="1361647"/>
            <a:chOff x="9179921" y="2579660"/>
            <a:chExt cx="2287365" cy="1361647"/>
          </a:xfrm>
        </p:grpSpPr>
        <p:sp>
          <p:nvSpPr>
            <p:cNvPr id="19" name="CuadroTexto 18">
              <a:extLst>
                <a:ext uri="{FF2B5EF4-FFF2-40B4-BE49-F238E27FC236}">
                  <a16:creationId xmlns:a16="http://schemas.microsoft.com/office/drawing/2014/main" id="{1A01509E-B0EB-F139-1100-13678DF94FF7}"/>
                </a:ext>
              </a:extLst>
            </p:cNvPr>
            <p:cNvSpPr txBox="1"/>
            <p:nvPr/>
          </p:nvSpPr>
          <p:spPr>
            <a:xfrm>
              <a:off x="9220479" y="3679697"/>
              <a:ext cx="1992861" cy="261610"/>
            </a:xfrm>
            <a:prstGeom prst="rect">
              <a:avLst/>
            </a:prstGeom>
            <a:noFill/>
          </p:spPr>
          <p:txBody>
            <a:bodyPr wrap="square">
              <a:spAutoFit/>
            </a:bodyPr>
            <a:lstStyle/>
            <a:p>
              <a:r>
                <a:rPr lang="es-ES" sz="1050" b="1">
                  <a:latin typeface="Arial Narrow" panose="020B0604020202020204" pitchFamily="34" charset="0"/>
                </a:rPr>
                <a:t>OPTION 4</a:t>
              </a:r>
            </a:p>
          </p:txBody>
        </p:sp>
        <p:sp>
          <p:nvSpPr>
            <p:cNvPr id="23" name="CuadroTexto 22">
              <a:extLst>
                <a:ext uri="{FF2B5EF4-FFF2-40B4-BE49-F238E27FC236}">
                  <a16:creationId xmlns:a16="http://schemas.microsoft.com/office/drawing/2014/main" id="{DD526BBF-3AF5-FA1C-E33A-EB55E7675E61}"/>
                </a:ext>
              </a:extLst>
            </p:cNvPr>
            <p:cNvSpPr txBox="1"/>
            <p:nvPr/>
          </p:nvSpPr>
          <p:spPr>
            <a:xfrm>
              <a:off x="9179921" y="2579660"/>
              <a:ext cx="2287365" cy="923330"/>
            </a:xfrm>
            <a:prstGeom prst="rect">
              <a:avLst/>
            </a:prstGeom>
            <a:noFill/>
          </p:spPr>
          <p:txBody>
            <a:bodyPr wrap="square">
              <a:spAutoFit/>
            </a:bodyPr>
            <a:lstStyle/>
            <a:p>
              <a:r>
                <a:rPr lang="es-ES" sz="5400" b="1">
                  <a:latin typeface="Arial Narrow" panose="020B0604020202020204" pitchFamily="34" charset="0"/>
                </a:rPr>
                <a:t>57%</a:t>
              </a:r>
              <a:endParaRPr lang="es-ES" sz="5400">
                <a:latin typeface="Arial" panose="020B0604020202020204" pitchFamily="34" charset="0"/>
                <a:cs typeface="Arial" panose="020B0604020202020204" pitchFamily="34" charset="0"/>
              </a:endParaRPr>
            </a:p>
          </p:txBody>
        </p:sp>
      </p:grpSp>
      <p:sp>
        <p:nvSpPr>
          <p:cNvPr id="24" name="CuadroTexto 23">
            <a:extLst>
              <a:ext uri="{FF2B5EF4-FFF2-40B4-BE49-F238E27FC236}">
                <a16:creationId xmlns:a16="http://schemas.microsoft.com/office/drawing/2014/main" id="{25B50A09-EDE2-0423-38F5-CCEFA7A824E0}"/>
              </a:ext>
            </a:extLst>
          </p:cNvPr>
          <p:cNvSpPr txBox="1"/>
          <p:nvPr/>
        </p:nvSpPr>
        <p:spPr>
          <a:xfrm>
            <a:off x="595362" y="5676918"/>
            <a:ext cx="2594332" cy="415498"/>
          </a:xfrm>
          <a:prstGeom prst="rect">
            <a:avLst/>
          </a:prstGeom>
          <a:noFill/>
        </p:spPr>
        <p:txBody>
          <a:bodyPr wrap="square">
            <a:spAutoFit/>
          </a:bodyPr>
          <a:lstStyle/>
          <a:p>
            <a:r>
              <a:rPr lang="es-ES" sz="1050">
                <a:latin typeface="Arial" panose="020B0604020202020204" pitchFamily="34" charset="0"/>
              </a:rPr>
              <a:t>Lorem ipsum dolor </a:t>
            </a:r>
            <a:r>
              <a:rPr lang="es-ES" sz="1050" err="1">
                <a:latin typeface="Arial" panose="020B0604020202020204" pitchFamily="34" charset="0"/>
              </a:rPr>
              <a:t>sit</a:t>
            </a:r>
            <a:r>
              <a:rPr lang="es-ES" sz="1050">
                <a:latin typeface="Arial" panose="020B0604020202020204" pitchFamily="34" charset="0"/>
              </a:rPr>
              <a:t> </a:t>
            </a:r>
            <a:r>
              <a:rPr lang="es-ES" sz="1050" err="1">
                <a:latin typeface="Arial" panose="020B0604020202020204" pitchFamily="34" charset="0"/>
              </a:rPr>
              <a:t>ame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iam</a:t>
            </a:r>
            <a:r>
              <a:rPr lang="es-ES" sz="1050">
                <a:latin typeface="Arial" panose="020B0604020202020204" pitchFamily="34" charset="0"/>
              </a:rPr>
              <a:t> </a:t>
            </a:r>
            <a:r>
              <a:rPr lang="es-ES" sz="1050" err="1">
                <a:latin typeface="Arial" panose="020B0604020202020204" pitchFamily="34" charset="0"/>
              </a:rPr>
              <a:t>aliquam</a:t>
            </a:r>
            <a:r>
              <a:rPr lang="es-ES" sz="1050">
                <a:latin typeface="Arial" panose="020B0604020202020204" pitchFamily="34" charset="0"/>
              </a:rPr>
              <a:t> </a:t>
            </a:r>
            <a:r>
              <a:rPr lang="es-ES" sz="1050" err="1">
                <a:latin typeface="Arial" panose="020B0604020202020204" pitchFamily="34" charset="0"/>
              </a:rPr>
              <a:t>volutpa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olore</a:t>
            </a:r>
            <a:r>
              <a:rPr lang="es-ES" sz="1050">
                <a:latin typeface="Arial" panose="020B0604020202020204" pitchFamily="34" charset="0"/>
              </a:rPr>
              <a:t>.</a:t>
            </a:r>
          </a:p>
        </p:txBody>
      </p:sp>
      <p:sp>
        <p:nvSpPr>
          <p:cNvPr id="31" name="CuadroTexto 30">
            <a:extLst>
              <a:ext uri="{FF2B5EF4-FFF2-40B4-BE49-F238E27FC236}">
                <a16:creationId xmlns:a16="http://schemas.microsoft.com/office/drawing/2014/main" id="{25B50A09-EDE2-0423-38F5-CCEFA7A824E0}"/>
              </a:ext>
            </a:extLst>
          </p:cNvPr>
          <p:cNvSpPr txBox="1"/>
          <p:nvPr/>
        </p:nvSpPr>
        <p:spPr>
          <a:xfrm>
            <a:off x="3381397" y="5676918"/>
            <a:ext cx="2594332" cy="415498"/>
          </a:xfrm>
          <a:prstGeom prst="rect">
            <a:avLst/>
          </a:prstGeom>
          <a:noFill/>
        </p:spPr>
        <p:txBody>
          <a:bodyPr wrap="square">
            <a:spAutoFit/>
          </a:bodyPr>
          <a:lstStyle/>
          <a:p>
            <a:r>
              <a:rPr lang="es-ES" sz="1050">
                <a:latin typeface="Arial" panose="020B0604020202020204" pitchFamily="34" charset="0"/>
              </a:rPr>
              <a:t>Lorem ipsum dolor </a:t>
            </a:r>
            <a:r>
              <a:rPr lang="es-ES" sz="1050" err="1">
                <a:latin typeface="Arial" panose="020B0604020202020204" pitchFamily="34" charset="0"/>
              </a:rPr>
              <a:t>sit</a:t>
            </a:r>
            <a:r>
              <a:rPr lang="es-ES" sz="1050">
                <a:latin typeface="Arial" panose="020B0604020202020204" pitchFamily="34" charset="0"/>
              </a:rPr>
              <a:t> </a:t>
            </a:r>
            <a:r>
              <a:rPr lang="es-ES" sz="1050" err="1">
                <a:latin typeface="Arial" panose="020B0604020202020204" pitchFamily="34" charset="0"/>
              </a:rPr>
              <a:t>ame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iam</a:t>
            </a:r>
            <a:r>
              <a:rPr lang="es-ES" sz="1050">
                <a:latin typeface="Arial" panose="020B0604020202020204" pitchFamily="34" charset="0"/>
              </a:rPr>
              <a:t> </a:t>
            </a:r>
            <a:r>
              <a:rPr lang="es-ES" sz="1050" err="1">
                <a:latin typeface="Arial" panose="020B0604020202020204" pitchFamily="34" charset="0"/>
              </a:rPr>
              <a:t>aliquam</a:t>
            </a:r>
            <a:r>
              <a:rPr lang="es-ES" sz="1050">
                <a:latin typeface="Arial" panose="020B0604020202020204" pitchFamily="34" charset="0"/>
              </a:rPr>
              <a:t> </a:t>
            </a:r>
            <a:r>
              <a:rPr lang="es-ES" sz="1050" err="1">
                <a:latin typeface="Arial" panose="020B0604020202020204" pitchFamily="34" charset="0"/>
              </a:rPr>
              <a:t>volutpa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olore</a:t>
            </a:r>
            <a:r>
              <a:rPr lang="es-ES" sz="1050">
                <a:latin typeface="Arial" panose="020B0604020202020204" pitchFamily="34" charset="0"/>
              </a:rPr>
              <a:t>.</a:t>
            </a:r>
          </a:p>
        </p:txBody>
      </p:sp>
      <p:sp>
        <p:nvSpPr>
          <p:cNvPr id="32" name="CuadroTexto 31">
            <a:extLst>
              <a:ext uri="{FF2B5EF4-FFF2-40B4-BE49-F238E27FC236}">
                <a16:creationId xmlns:a16="http://schemas.microsoft.com/office/drawing/2014/main" id="{25B50A09-EDE2-0423-38F5-CCEFA7A824E0}"/>
              </a:ext>
            </a:extLst>
          </p:cNvPr>
          <p:cNvSpPr txBox="1"/>
          <p:nvPr/>
        </p:nvSpPr>
        <p:spPr>
          <a:xfrm>
            <a:off x="6124828" y="5650305"/>
            <a:ext cx="2594332" cy="415498"/>
          </a:xfrm>
          <a:prstGeom prst="rect">
            <a:avLst/>
          </a:prstGeom>
          <a:noFill/>
        </p:spPr>
        <p:txBody>
          <a:bodyPr wrap="square">
            <a:spAutoFit/>
          </a:bodyPr>
          <a:lstStyle/>
          <a:p>
            <a:r>
              <a:rPr lang="es-ES" sz="1050">
                <a:latin typeface="Arial" panose="020B0604020202020204" pitchFamily="34" charset="0"/>
              </a:rPr>
              <a:t>Lorem ipsum dolor </a:t>
            </a:r>
            <a:r>
              <a:rPr lang="es-ES" sz="1050" err="1">
                <a:latin typeface="Arial" panose="020B0604020202020204" pitchFamily="34" charset="0"/>
              </a:rPr>
              <a:t>sit</a:t>
            </a:r>
            <a:r>
              <a:rPr lang="es-ES" sz="1050">
                <a:latin typeface="Arial" panose="020B0604020202020204" pitchFamily="34" charset="0"/>
              </a:rPr>
              <a:t> </a:t>
            </a:r>
            <a:r>
              <a:rPr lang="es-ES" sz="1050" err="1">
                <a:latin typeface="Arial" panose="020B0604020202020204" pitchFamily="34" charset="0"/>
              </a:rPr>
              <a:t>ame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iam</a:t>
            </a:r>
            <a:r>
              <a:rPr lang="es-ES" sz="1050">
                <a:latin typeface="Arial" panose="020B0604020202020204" pitchFamily="34" charset="0"/>
              </a:rPr>
              <a:t> </a:t>
            </a:r>
            <a:r>
              <a:rPr lang="es-ES" sz="1050" err="1">
                <a:latin typeface="Arial" panose="020B0604020202020204" pitchFamily="34" charset="0"/>
              </a:rPr>
              <a:t>aliquam</a:t>
            </a:r>
            <a:r>
              <a:rPr lang="es-ES" sz="1050">
                <a:latin typeface="Arial" panose="020B0604020202020204" pitchFamily="34" charset="0"/>
              </a:rPr>
              <a:t> </a:t>
            </a:r>
            <a:r>
              <a:rPr lang="es-ES" sz="1050" err="1">
                <a:latin typeface="Arial" panose="020B0604020202020204" pitchFamily="34" charset="0"/>
              </a:rPr>
              <a:t>volutpa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olore</a:t>
            </a:r>
            <a:r>
              <a:rPr lang="es-ES" sz="1050">
                <a:latin typeface="Arial" panose="020B0604020202020204" pitchFamily="34" charset="0"/>
              </a:rPr>
              <a:t>.</a:t>
            </a:r>
          </a:p>
        </p:txBody>
      </p:sp>
      <p:sp>
        <p:nvSpPr>
          <p:cNvPr id="33" name="CuadroTexto 32">
            <a:extLst>
              <a:ext uri="{FF2B5EF4-FFF2-40B4-BE49-F238E27FC236}">
                <a16:creationId xmlns:a16="http://schemas.microsoft.com/office/drawing/2014/main" id="{25B50A09-EDE2-0423-38F5-CCEFA7A824E0}"/>
              </a:ext>
            </a:extLst>
          </p:cNvPr>
          <p:cNvSpPr txBox="1"/>
          <p:nvPr/>
        </p:nvSpPr>
        <p:spPr>
          <a:xfrm>
            <a:off x="9003836" y="5650305"/>
            <a:ext cx="2594332" cy="415498"/>
          </a:xfrm>
          <a:prstGeom prst="rect">
            <a:avLst/>
          </a:prstGeom>
          <a:noFill/>
        </p:spPr>
        <p:txBody>
          <a:bodyPr wrap="square">
            <a:spAutoFit/>
          </a:bodyPr>
          <a:lstStyle/>
          <a:p>
            <a:r>
              <a:rPr lang="es-ES" sz="1050">
                <a:latin typeface="Arial" panose="020B0604020202020204" pitchFamily="34" charset="0"/>
              </a:rPr>
              <a:t>Lorem ipsum dolor </a:t>
            </a:r>
            <a:r>
              <a:rPr lang="es-ES" sz="1050" err="1">
                <a:latin typeface="Arial" panose="020B0604020202020204" pitchFamily="34" charset="0"/>
              </a:rPr>
              <a:t>sit</a:t>
            </a:r>
            <a:r>
              <a:rPr lang="es-ES" sz="1050">
                <a:latin typeface="Arial" panose="020B0604020202020204" pitchFamily="34" charset="0"/>
              </a:rPr>
              <a:t> </a:t>
            </a:r>
            <a:r>
              <a:rPr lang="es-ES" sz="1050" err="1">
                <a:latin typeface="Arial" panose="020B0604020202020204" pitchFamily="34" charset="0"/>
              </a:rPr>
              <a:t>ame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iam</a:t>
            </a:r>
            <a:r>
              <a:rPr lang="es-ES" sz="1050">
                <a:latin typeface="Arial" panose="020B0604020202020204" pitchFamily="34" charset="0"/>
              </a:rPr>
              <a:t> </a:t>
            </a:r>
            <a:r>
              <a:rPr lang="es-ES" sz="1050" err="1">
                <a:latin typeface="Arial" panose="020B0604020202020204" pitchFamily="34" charset="0"/>
              </a:rPr>
              <a:t>aliquam</a:t>
            </a:r>
            <a:r>
              <a:rPr lang="es-ES" sz="1050">
                <a:latin typeface="Arial" panose="020B0604020202020204" pitchFamily="34" charset="0"/>
              </a:rPr>
              <a:t> </a:t>
            </a:r>
            <a:r>
              <a:rPr lang="es-ES" sz="1050" err="1">
                <a:latin typeface="Arial" panose="020B0604020202020204" pitchFamily="34" charset="0"/>
              </a:rPr>
              <a:t>volutpat</a:t>
            </a:r>
            <a:r>
              <a:rPr lang="es-ES" sz="1050">
                <a:latin typeface="Arial" panose="020B0604020202020204" pitchFamily="34" charset="0"/>
              </a:rPr>
              <a:t> </a:t>
            </a:r>
            <a:r>
              <a:rPr lang="es-ES" sz="1050" err="1">
                <a:latin typeface="Arial" panose="020B0604020202020204" pitchFamily="34" charset="0"/>
              </a:rPr>
              <a:t>laoreet</a:t>
            </a:r>
            <a:r>
              <a:rPr lang="es-ES" sz="1050">
                <a:latin typeface="Arial" panose="020B0604020202020204" pitchFamily="34" charset="0"/>
              </a:rPr>
              <a:t> </a:t>
            </a:r>
            <a:r>
              <a:rPr lang="es-ES" sz="1050" err="1">
                <a:latin typeface="Arial" panose="020B0604020202020204" pitchFamily="34" charset="0"/>
              </a:rPr>
              <a:t>dolore</a:t>
            </a:r>
            <a:r>
              <a:rPr lang="es-ES" sz="1050">
                <a:latin typeface="Arial" panose="020B0604020202020204" pitchFamily="34" charset="0"/>
              </a:rPr>
              <a:t>.</a:t>
            </a:r>
          </a:p>
        </p:txBody>
      </p:sp>
    </p:spTree>
    <p:extLst>
      <p:ext uri="{BB962C8B-B14F-4D97-AF65-F5344CB8AC3E}">
        <p14:creationId xmlns:p14="http://schemas.microsoft.com/office/powerpoint/2010/main" val="37180941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E9E75-F7F2-2236-7353-BCA7DC0409E8}"/>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E884E515-BD1F-5FF5-1C82-5FF551E94244}"/>
              </a:ext>
            </a:extLst>
          </p:cNvPr>
          <p:cNvSpPr>
            <a:spLocks noGrp="1"/>
          </p:cNvSpPr>
          <p:nvPr>
            <p:ph type="body" sz="quarter" idx="24"/>
          </p:nvPr>
        </p:nvSpPr>
        <p:spPr/>
        <p:txBody>
          <a:bodyPr/>
          <a:lstStyle/>
          <a:p>
            <a:endParaRPr lang="en-GB"/>
          </a:p>
        </p:txBody>
      </p:sp>
      <p:sp>
        <p:nvSpPr>
          <p:cNvPr id="2" name="Marcador de pie de página 1">
            <a:extLst>
              <a:ext uri="{FF2B5EF4-FFF2-40B4-BE49-F238E27FC236}">
                <a16:creationId xmlns:a16="http://schemas.microsoft.com/office/drawing/2014/main" id="{B0B5BBEF-C6DD-349A-AB3A-D6C3FC1A327F}"/>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9A0B9B29-316A-3460-6419-4EDA5B9F5C71}"/>
              </a:ext>
            </a:extLst>
          </p:cNvPr>
          <p:cNvSpPr>
            <a:spLocks noGrp="1"/>
          </p:cNvSpPr>
          <p:nvPr>
            <p:ph type="sldNum" sz="quarter" idx="12"/>
          </p:nvPr>
        </p:nvSpPr>
        <p:spPr/>
        <p:txBody>
          <a:bodyPr/>
          <a:lstStyle/>
          <a:p>
            <a:fld id="{FF2CED2D-DE01-CB40-AEF5-C9DD7CD06225}" type="slidenum">
              <a:rPr lang="es-ES" smtClean="0"/>
              <a:pPr/>
              <a:t>52</a:t>
            </a:fld>
            <a:endParaRPr lang="es-ES"/>
          </a:p>
        </p:txBody>
      </p:sp>
      <p:sp>
        <p:nvSpPr>
          <p:cNvPr id="9" name="Marcador de texto 8">
            <a:extLst>
              <a:ext uri="{FF2B5EF4-FFF2-40B4-BE49-F238E27FC236}">
                <a16:creationId xmlns:a16="http://schemas.microsoft.com/office/drawing/2014/main" id="{CBAB6389-33F7-F640-F087-3ED177BAD7BE}"/>
              </a:ext>
            </a:extLst>
          </p:cNvPr>
          <p:cNvSpPr>
            <a:spLocks noGrp="1"/>
          </p:cNvSpPr>
          <p:nvPr>
            <p:ph type="body" sz="quarter" idx="27"/>
          </p:nvPr>
        </p:nvSpPr>
        <p:spPr/>
        <p:txBody>
          <a:bodyPr/>
          <a:lstStyle/>
          <a:p>
            <a:endParaRPr lang="en-GB"/>
          </a:p>
        </p:txBody>
      </p:sp>
      <p:sp>
        <p:nvSpPr>
          <p:cNvPr id="4" name="Line 2">
            <a:extLst>
              <a:ext uri="{FF2B5EF4-FFF2-40B4-BE49-F238E27FC236}">
                <a16:creationId xmlns:a16="http://schemas.microsoft.com/office/drawing/2014/main" id="{50F39ADF-C401-F569-A4C8-87FAA193893A}"/>
              </a:ext>
            </a:extLst>
          </p:cNvPr>
          <p:cNvSpPr>
            <a:spLocks noChangeShapeType="1"/>
          </p:cNvSpPr>
          <p:nvPr/>
        </p:nvSpPr>
        <p:spPr bwMode="auto">
          <a:xfrm>
            <a:off x="2732757" y="3113282"/>
            <a:ext cx="0" cy="2939764"/>
          </a:xfrm>
          <a:prstGeom prst="line">
            <a:avLst/>
          </a:prstGeom>
          <a:noFill/>
          <a:ln w="25400" cap="flat">
            <a:solidFill>
              <a:schemeClr val="tx1"/>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entury Gothic"/>
              <a:cs typeface="Century Gothic"/>
            </a:endParaRPr>
          </a:p>
        </p:txBody>
      </p:sp>
      <p:sp>
        <p:nvSpPr>
          <p:cNvPr id="5" name="Line 2">
            <a:extLst>
              <a:ext uri="{FF2B5EF4-FFF2-40B4-BE49-F238E27FC236}">
                <a16:creationId xmlns:a16="http://schemas.microsoft.com/office/drawing/2014/main" id="{8DBDE31F-516F-2E86-5A3B-45B346DCA11E}"/>
              </a:ext>
            </a:extLst>
          </p:cNvPr>
          <p:cNvSpPr>
            <a:spLocks noChangeShapeType="1"/>
          </p:cNvSpPr>
          <p:nvPr/>
        </p:nvSpPr>
        <p:spPr bwMode="auto">
          <a:xfrm>
            <a:off x="4254430" y="3113282"/>
            <a:ext cx="0" cy="2939764"/>
          </a:xfrm>
          <a:prstGeom prst="line">
            <a:avLst/>
          </a:prstGeom>
          <a:noFill/>
          <a:ln w="25400" cap="flat">
            <a:solidFill>
              <a:schemeClr val="tx1"/>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entury Gothic"/>
              <a:cs typeface="Century Gothic"/>
            </a:endParaRPr>
          </a:p>
        </p:txBody>
      </p:sp>
      <p:sp>
        <p:nvSpPr>
          <p:cNvPr id="27" name="Line 2">
            <a:extLst>
              <a:ext uri="{FF2B5EF4-FFF2-40B4-BE49-F238E27FC236}">
                <a16:creationId xmlns:a16="http://schemas.microsoft.com/office/drawing/2014/main" id="{AF794FBC-7B49-3919-077F-92E97783F04C}"/>
              </a:ext>
            </a:extLst>
          </p:cNvPr>
          <p:cNvSpPr>
            <a:spLocks noChangeShapeType="1"/>
          </p:cNvSpPr>
          <p:nvPr/>
        </p:nvSpPr>
        <p:spPr bwMode="auto">
          <a:xfrm>
            <a:off x="7179114" y="3113282"/>
            <a:ext cx="0" cy="2939764"/>
          </a:xfrm>
          <a:prstGeom prst="line">
            <a:avLst/>
          </a:prstGeom>
          <a:noFill/>
          <a:ln w="25400" cap="flat">
            <a:solidFill>
              <a:schemeClr val="tx1"/>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entury Gothic"/>
              <a:cs typeface="Century Gothic"/>
            </a:endParaRPr>
          </a:p>
        </p:txBody>
      </p:sp>
      <p:sp>
        <p:nvSpPr>
          <p:cNvPr id="28" name="Line 2">
            <a:extLst>
              <a:ext uri="{FF2B5EF4-FFF2-40B4-BE49-F238E27FC236}">
                <a16:creationId xmlns:a16="http://schemas.microsoft.com/office/drawing/2014/main" id="{54F90FB9-2BA5-1283-D94B-1C7C8BB90BDB}"/>
              </a:ext>
            </a:extLst>
          </p:cNvPr>
          <p:cNvSpPr>
            <a:spLocks noChangeShapeType="1"/>
          </p:cNvSpPr>
          <p:nvPr/>
        </p:nvSpPr>
        <p:spPr bwMode="auto">
          <a:xfrm>
            <a:off x="9042815" y="3113282"/>
            <a:ext cx="0" cy="2939764"/>
          </a:xfrm>
          <a:prstGeom prst="line">
            <a:avLst/>
          </a:prstGeom>
          <a:noFill/>
          <a:ln w="25400" cap="flat">
            <a:solidFill>
              <a:schemeClr val="tx1"/>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entury Gothic"/>
              <a:cs typeface="Century Gothic"/>
            </a:endParaRPr>
          </a:p>
        </p:txBody>
      </p:sp>
      <p:sp>
        <p:nvSpPr>
          <p:cNvPr id="31" name="Rectangle 5">
            <a:extLst>
              <a:ext uri="{FF2B5EF4-FFF2-40B4-BE49-F238E27FC236}">
                <a16:creationId xmlns:a16="http://schemas.microsoft.com/office/drawing/2014/main" id="{8116252C-DC55-39C3-F752-FDD236DEB1EC}"/>
              </a:ext>
            </a:extLst>
          </p:cNvPr>
          <p:cNvSpPr>
            <a:spLocks/>
          </p:cNvSpPr>
          <p:nvPr/>
        </p:nvSpPr>
        <p:spPr bwMode="auto">
          <a:xfrm>
            <a:off x="2725739" y="2584305"/>
            <a:ext cx="1515940" cy="294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r>
              <a:rPr lang="en-US" b="1">
                <a:latin typeface="Arial Narrow" panose="020B0604020202020204" pitchFamily="34" charset="0"/>
                <a:cs typeface="Century Gothic"/>
                <a:sym typeface="Calibri Bold" panose="020F0702030404030204" pitchFamily="34" charset="0"/>
              </a:rPr>
              <a:t>TEXT 1</a:t>
            </a:r>
          </a:p>
        </p:txBody>
      </p:sp>
      <p:sp>
        <p:nvSpPr>
          <p:cNvPr id="32" name="Rectangle 6">
            <a:extLst>
              <a:ext uri="{FF2B5EF4-FFF2-40B4-BE49-F238E27FC236}">
                <a16:creationId xmlns:a16="http://schemas.microsoft.com/office/drawing/2014/main" id="{AF1149A1-ECF4-1723-427A-03CB7BF0BC65}"/>
              </a:ext>
            </a:extLst>
          </p:cNvPr>
          <p:cNvSpPr>
            <a:spLocks/>
          </p:cNvSpPr>
          <p:nvPr/>
        </p:nvSpPr>
        <p:spPr bwMode="auto">
          <a:xfrm>
            <a:off x="4241679" y="2584305"/>
            <a:ext cx="2933624" cy="294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r>
              <a:rPr lang="en-US" b="1">
                <a:latin typeface="Arial Narrow" panose="020B0604020202020204" pitchFamily="34" charset="0"/>
                <a:cs typeface="Century Gothic"/>
                <a:sym typeface="Calibri Bold" panose="020F0702030404030204" pitchFamily="34" charset="0"/>
              </a:rPr>
              <a:t>TEXT 2 </a:t>
            </a:r>
          </a:p>
        </p:txBody>
      </p:sp>
      <p:sp>
        <p:nvSpPr>
          <p:cNvPr id="33" name="Rectangle 7">
            <a:extLst>
              <a:ext uri="{FF2B5EF4-FFF2-40B4-BE49-F238E27FC236}">
                <a16:creationId xmlns:a16="http://schemas.microsoft.com/office/drawing/2014/main" id="{C90C1525-72F5-94AA-CAF0-F30A788A147F}"/>
              </a:ext>
            </a:extLst>
          </p:cNvPr>
          <p:cNvSpPr>
            <a:spLocks/>
          </p:cNvSpPr>
          <p:nvPr/>
        </p:nvSpPr>
        <p:spPr bwMode="auto">
          <a:xfrm>
            <a:off x="7203375" y="2584305"/>
            <a:ext cx="3677557" cy="294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r>
              <a:rPr lang="en-US" b="1">
                <a:latin typeface="Arial Narrow" panose="020B0604020202020204" pitchFamily="34" charset="0"/>
                <a:cs typeface="Century Gothic"/>
                <a:sym typeface="Calibri Bold" panose="020F0702030404030204" pitchFamily="34" charset="0"/>
              </a:rPr>
              <a:t>TEXT 3</a:t>
            </a:r>
          </a:p>
        </p:txBody>
      </p:sp>
      <p:sp>
        <p:nvSpPr>
          <p:cNvPr id="34" name="Line 11">
            <a:extLst>
              <a:ext uri="{FF2B5EF4-FFF2-40B4-BE49-F238E27FC236}">
                <a16:creationId xmlns:a16="http://schemas.microsoft.com/office/drawing/2014/main" id="{28C060CE-3A3B-CEE0-70A2-00726A221CF7}"/>
              </a:ext>
            </a:extLst>
          </p:cNvPr>
          <p:cNvSpPr>
            <a:spLocks noChangeShapeType="1"/>
          </p:cNvSpPr>
          <p:nvPr/>
        </p:nvSpPr>
        <p:spPr bwMode="auto">
          <a:xfrm rot="10800000" flipH="1">
            <a:off x="1762493" y="3425594"/>
            <a:ext cx="9100894" cy="877"/>
          </a:xfrm>
          <a:prstGeom prst="line">
            <a:avLst/>
          </a:prstGeom>
          <a:noFill/>
          <a:ln w="25400" cap="flat">
            <a:solidFill>
              <a:srgbClr val="717C7D">
                <a:alpha val="29999"/>
              </a:srgbClr>
            </a:solidFill>
            <a:prstDash val="sysDot"/>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lumMod val="75000"/>
                  <a:lumOff val="25000"/>
                </a:prstClr>
              </a:solidFill>
              <a:effectLst/>
              <a:uLnTx/>
              <a:uFillTx/>
              <a:latin typeface="Century Gothic"/>
              <a:cs typeface="Century Gothic"/>
            </a:endParaRPr>
          </a:p>
        </p:txBody>
      </p:sp>
      <p:sp>
        <p:nvSpPr>
          <p:cNvPr id="35" name="Rectangle 12">
            <a:extLst>
              <a:ext uri="{FF2B5EF4-FFF2-40B4-BE49-F238E27FC236}">
                <a16:creationId xmlns:a16="http://schemas.microsoft.com/office/drawing/2014/main" id="{164F1CB3-4429-AE79-0F51-5D177AFEDD97}"/>
              </a:ext>
            </a:extLst>
          </p:cNvPr>
          <p:cNvSpPr>
            <a:spLocks/>
          </p:cNvSpPr>
          <p:nvPr/>
        </p:nvSpPr>
        <p:spPr bwMode="auto">
          <a:xfrm>
            <a:off x="11045420" y="3412211"/>
            <a:ext cx="315821" cy="294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31</a:t>
            </a:r>
          </a:p>
        </p:txBody>
      </p:sp>
      <p:sp>
        <p:nvSpPr>
          <p:cNvPr id="36" name="Rectangle 14">
            <a:extLst>
              <a:ext uri="{FF2B5EF4-FFF2-40B4-BE49-F238E27FC236}">
                <a16:creationId xmlns:a16="http://schemas.microsoft.com/office/drawing/2014/main" id="{B9C6637B-3AF1-9CD2-507C-7168CB03CF77}"/>
              </a:ext>
            </a:extLst>
          </p:cNvPr>
          <p:cNvSpPr>
            <a:spLocks/>
          </p:cNvSpPr>
          <p:nvPr/>
        </p:nvSpPr>
        <p:spPr bwMode="auto">
          <a:xfrm>
            <a:off x="554208" y="3222110"/>
            <a:ext cx="680769" cy="294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r"/>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Name</a:t>
            </a:r>
          </a:p>
        </p:txBody>
      </p:sp>
      <p:sp>
        <p:nvSpPr>
          <p:cNvPr id="37" name="Line 17">
            <a:extLst>
              <a:ext uri="{FF2B5EF4-FFF2-40B4-BE49-F238E27FC236}">
                <a16:creationId xmlns:a16="http://schemas.microsoft.com/office/drawing/2014/main" id="{84FEB8EC-1745-C01D-45B6-5D0A83251613}"/>
              </a:ext>
            </a:extLst>
          </p:cNvPr>
          <p:cNvSpPr>
            <a:spLocks noChangeShapeType="1"/>
          </p:cNvSpPr>
          <p:nvPr/>
        </p:nvSpPr>
        <p:spPr bwMode="auto">
          <a:xfrm rot="10800000" flipH="1">
            <a:off x="1762495" y="4183562"/>
            <a:ext cx="9100892" cy="877"/>
          </a:xfrm>
          <a:prstGeom prst="line">
            <a:avLst/>
          </a:prstGeom>
          <a:noFill/>
          <a:ln w="25400" cap="flat">
            <a:solidFill>
              <a:srgbClr val="717C7D">
                <a:alpha val="29999"/>
              </a:srgbClr>
            </a:solidFill>
            <a:prstDash val="sysDot"/>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lumMod val="75000"/>
                  <a:lumOff val="25000"/>
                </a:prstClr>
              </a:solidFill>
              <a:effectLst/>
              <a:uLnTx/>
              <a:uFillTx/>
              <a:latin typeface="Century Gothic"/>
              <a:cs typeface="Century Gothic"/>
            </a:endParaRPr>
          </a:p>
        </p:txBody>
      </p:sp>
      <p:sp>
        <p:nvSpPr>
          <p:cNvPr id="38" name="Rectangle 18">
            <a:extLst>
              <a:ext uri="{FF2B5EF4-FFF2-40B4-BE49-F238E27FC236}">
                <a16:creationId xmlns:a16="http://schemas.microsoft.com/office/drawing/2014/main" id="{43FCE174-13D2-3DD8-C2BA-B13F3E79ECC6}"/>
              </a:ext>
            </a:extLst>
          </p:cNvPr>
          <p:cNvSpPr>
            <a:spLocks/>
          </p:cNvSpPr>
          <p:nvPr/>
        </p:nvSpPr>
        <p:spPr bwMode="auto">
          <a:xfrm>
            <a:off x="11044543" y="4036180"/>
            <a:ext cx="294764"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31</a:t>
            </a:r>
          </a:p>
        </p:txBody>
      </p:sp>
      <p:sp>
        <p:nvSpPr>
          <p:cNvPr id="39" name="Rectangle 20">
            <a:extLst>
              <a:ext uri="{FF2B5EF4-FFF2-40B4-BE49-F238E27FC236}">
                <a16:creationId xmlns:a16="http://schemas.microsoft.com/office/drawing/2014/main" id="{057C5014-CA8B-8BB1-928D-46749726B957}"/>
              </a:ext>
            </a:extLst>
          </p:cNvPr>
          <p:cNvSpPr>
            <a:spLocks/>
          </p:cNvSpPr>
          <p:nvPr/>
        </p:nvSpPr>
        <p:spPr bwMode="auto">
          <a:xfrm>
            <a:off x="554211" y="4008152"/>
            <a:ext cx="680768"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r"/>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Name</a:t>
            </a:r>
          </a:p>
        </p:txBody>
      </p:sp>
      <p:sp>
        <p:nvSpPr>
          <p:cNvPr id="40" name="Line 23">
            <a:extLst>
              <a:ext uri="{FF2B5EF4-FFF2-40B4-BE49-F238E27FC236}">
                <a16:creationId xmlns:a16="http://schemas.microsoft.com/office/drawing/2014/main" id="{ECDB00AB-1492-1EE5-C2A5-4C2B06DBB63E}"/>
              </a:ext>
            </a:extLst>
          </p:cNvPr>
          <p:cNvSpPr>
            <a:spLocks noChangeShapeType="1"/>
          </p:cNvSpPr>
          <p:nvPr/>
        </p:nvSpPr>
        <p:spPr bwMode="auto">
          <a:xfrm rot="10800000" flipH="1">
            <a:off x="1762493" y="4941532"/>
            <a:ext cx="9100893" cy="877"/>
          </a:xfrm>
          <a:prstGeom prst="line">
            <a:avLst/>
          </a:prstGeom>
          <a:noFill/>
          <a:ln w="25400" cap="flat">
            <a:solidFill>
              <a:srgbClr val="717C7D">
                <a:alpha val="29999"/>
              </a:srgbClr>
            </a:solidFill>
            <a:prstDash val="sysDot"/>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lumMod val="75000"/>
                  <a:lumOff val="25000"/>
                </a:prstClr>
              </a:solidFill>
              <a:effectLst/>
              <a:uLnTx/>
              <a:uFillTx/>
              <a:latin typeface="Century Gothic"/>
              <a:cs typeface="Century Gothic"/>
            </a:endParaRPr>
          </a:p>
        </p:txBody>
      </p:sp>
      <p:sp>
        <p:nvSpPr>
          <p:cNvPr id="41" name="Rectangle 24">
            <a:extLst>
              <a:ext uri="{FF2B5EF4-FFF2-40B4-BE49-F238E27FC236}">
                <a16:creationId xmlns:a16="http://schemas.microsoft.com/office/drawing/2014/main" id="{554D5E2E-5D28-DF91-A15C-8684F5B2D93F}"/>
              </a:ext>
            </a:extLst>
          </p:cNvPr>
          <p:cNvSpPr>
            <a:spLocks/>
          </p:cNvSpPr>
          <p:nvPr/>
        </p:nvSpPr>
        <p:spPr bwMode="auto">
          <a:xfrm>
            <a:off x="11044543" y="4794149"/>
            <a:ext cx="294764"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31</a:t>
            </a:r>
          </a:p>
        </p:txBody>
      </p:sp>
      <p:sp>
        <p:nvSpPr>
          <p:cNvPr id="42" name="Rectangle 26">
            <a:extLst>
              <a:ext uri="{FF2B5EF4-FFF2-40B4-BE49-F238E27FC236}">
                <a16:creationId xmlns:a16="http://schemas.microsoft.com/office/drawing/2014/main" id="{EF008062-40F3-A907-51FE-9AFF57E2C4A5}"/>
              </a:ext>
            </a:extLst>
          </p:cNvPr>
          <p:cNvSpPr>
            <a:spLocks/>
          </p:cNvSpPr>
          <p:nvPr/>
        </p:nvSpPr>
        <p:spPr bwMode="auto">
          <a:xfrm>
            <a:off x="554209" y="4752085"/>
            <a:ext cx="680769"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r"/>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Name</a:t>
            </a:r>
          </a:p>
        </p:txBody>
      </p:sp>
      <p:sp>
        <p:nvSpPr>
          <p:cNvPr id="43" name="Line 29">
            <a:extLst>
              <a:ext uri="{FF2B5EF4-FFF2-40B4-BE49-F238E27FC236}">
                <a16:creationId xmlns:a16="http://schemas.microsoft.com/office/drawing/2014/main" id="{61076602-322B-69BA-FB99-FC525205F5B3}"/>
              </a:ext>
            </a:extLst>
          </p:cNvPr>
          <p:cNvSpPr>
            <a:spLocks noChangeShapeType="1"/>
          </p:cNvSpPr>
          <p:nvPr/>
        </p:nvSpPr>
        <p:spPr bwMode="auto">
          <a:xfrm rot="10800000" flipH="1">
            <a:off x="1762495" y="5667042"/>
            <a:ext cx="9100892" cy="877"/>
          </a:xfrm>
          <a:prstGeom prst="line">
            <a:avLst/>
          </a:prstGeom>
          <a:noFill/>
          <a:ln w="25400" cap="flat">
            <a:solidFill>
              <a:srgbClr val="717C7D">
                <a:alpha val="29999"/>
              </a:srgbClr>
            </a:solidFill>
            <a:prstDash val="sysDot"/>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lumMod val="75000"/>
                  <a:lumOff val="25000"/>
                </a:prstClr>
              </a:solidFill>
              <a:effectLst/>
              <a:uLnTx/>
              <a:uFillTx/>
              <a:latin typeface="Century Gothic"/>
              <a:cs typeface="Century Gothic"/>
            </a:endParaRPr>
          </a:p>
        </p:txBody>
      </p:sp>
      <p:sp>
        <p:nvSpPr>
          <p:cNvPr id="44" name="Rectangle 30">
            <a:extLst>
              <a:ext uri="{FF2B5EF4-FFF2-40B4-BE49-F238E27FC236}">
                <a16:creationId xmlns:a16="http://schemas.microsoft.com/office/drawing/2014/main" id="{8F11F572-D35A-0B3B-BF0E-6A2576B46437}"/>
              </a:ext>
            </a:extLst>
          </p:cNvPr>
          <p:cNvSpPr>
            <a:spLocks/>
          </p:cNvSpPr>
          <p:nvPr/>
        </p:nvSpPr>
        <p:spPr bwMode="auto">
          <a:xfrm>
            <a:off x="11044543" y="5524046"/>
            <a:ext cx="294764"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31</a:t>
            </a:r>
          </a:p>
        </p:txBody>
      </p:sp>
      <p:sp>
        <p:nvSpPr>
          <p:cNvPr id="45" name="Rectangle 32">
            <a:extLst>
              <a:ext uri="{FF2B5EF4-FFF2-40B4-BE49-F238E27FC236}">
                <a16:creationId xmlns:a16="http://schemas.microsoft.com/office/drawing/2014/main" id="{C938DBAE-C997-4320-DD58-EC20E78FFD2E}"/>
              </a:ext>
            </a:extLst>
          </p:cNvPr>
          <p:cNvSpPr>
            <a:spLocks/>
          </p:cNvSpPr>
          <p:nvPr/>
        </p:nvSpPr>
        <p:spPr bwMode="auto">
          <a:xfrm>
            <a:off x="554211" y="5496018"/>
            <a:ext cx="680768" cy="2947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r"/>
            <a:r>
              <a:rPr lang="en-US">
                <a:solidFill>
                  <a:prstClr val="black"/>
                </a:solidFill>
                <a:latin typeface="Arial" panose="020B0604020202020204" pitchFamily="34" charset="0"/>
                <a:cs typeface="Arial" panose="020B0604020202020204" pitchFamily="34" charset="0"/>
                <a:sym typeface="Calibri Bold" panose="020F0702030404030204" pitchFamily="34" charset="0"/>
              </a:rPr>
              <a:t>Name</a:t>
            </a:r>
          </a:p>
        </p:txBody>
      </p:sp>
      <p:sp>
        <p:nvSpPr>
          <p:cNvPr id="46" name="Rectángulo 45">
            <a:extLst>
              <a:ext uri="{FF2B5EF4-FFF2-40B4-BE49-F238E27FC236}">
                <a16:creationId xmlns:a16="http://schemas.microsoft.com/office/drawing/2014/main" id="{4E8BD4D3-27A9-68B3-DDE7-228945C49777}"/>
              </a:ext>
            </a:extLst>
          </p:cNvPr>
          <p:cNvSpPr/>
          <p:nvPr/>
        </p:nvSpPr>
        <p:spPr>
          <a:xfrm>
            <a:off x="1679994" y="4794149"/>
            <a:ext cx="2466498" cy="322840"/>
          </a:xfrm>
          <a:prstGeom prst="rect">
            <a:avLst/>
          </a:prstGeom>
          <a:solidFill>
            <a:srgbClr val="0042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entury Gothic"/>
              <a:ea typeface="+mn-ea"/>
              <a:cs typeface="+mn-cs"/>
            </a:endParaRPr>
          </a:p>
        </p:txBody>
      </p:sp>
      <p:sp>
        <p:nvSpPr>
          <p:cNvPr id="47" name="Rectángulo 46">
            <a:extLst>
              <a:ext uri="{FF2B5EF4-FFF2-40B4-BE49-F238E27FC236}">
                <a16:creationId xmlns:a16="http://schemas.microsoft.com/office/drawing/2014/main" id="{1A8B1E3E-943E-2DBE-914A-1B040FD6A6B7}"/>
              </a:ext>
            </a:extLst>
          </p:cNvPr>
          <p:cNvSpPr/>
          <p:nvPr/>
        </p:nvSpPr>
        <p:spPr>
          <a:xfrm>
            <a:off x="8285873" y="4788582"/>
            <a:ext cx="2668091" cy="322840"/>
          </a:xfrm>
          <a:prstGeom prst="rect">
            <a:avLst/>
          </a:prstGeom>
          <a:solidFill>
            <a:srgbClr val="0042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entury Gothic"/>
              <a:ea typeface="+mn-ea"/>
              <a:cs typeface="+mn-cs"/>
            </a:endParaRPr>
          </a:p>
        </p:txBody>
      </p:sp>
      <p:sp>
        <p:nvSpPr>
          <p:cNvPr id="48" name="Rectángulo 47">
            <a:extLst>
              <a:ext uri="{FF2B5EF4-FFF2-40B4-BE49-F238E27FC236}">
                <a16:creationId xmlns:a16="http://schemas.microsoft.com/office/drawing/2014/main" id="{22503069-1F96-5BA7-5C3C-3097537DD20E}"/>
              </a:ext>
            </a:extLst>
          </p:cNvPr>
          <p:cNvSpPr/>
          <p:nvPr/>
        </p:nvSpPr>
        <p:spPr>
          <a:xfrm>
            <a:off x="5906231" y="5510476"/>
            <a:ext cx="3326645" cy="322840"/>
          </a:xfrm>
          <a:prstGeom prst="rect">
            <a:avLst/>
          </a:prstGeom>
          <a:solidFill>
            <a:srgbClr val="0042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entury Gothic"/>
              <a:ea typeface="+mn-ea"/>
              <a:cs typeface="+mn-cs"/>
            </a:endParaRPr>
          </a:p>
        </p:txBody>
      </p:sp>
      <p:sp>
        <p:nvSpPr>
          <p:cNvPr id="49" name="Rectángulo 48">
            <a:extLst>
              <a:ext uri="{FF2B5EF4-FFF2-40B4-BE49-F238E27FC236}">
                <a16:creationId xmlns:a16="http://schemas.microsoft.com/office/drawing/2014/main" id="{0AEB310D-CE24-C4B7-6655-8B312000899E}"/>
              </a:ext>
            </a:extLst>
          </p:cNvPr>
          <p:cNvSpPr/>
          <p:nvPr/>
        </p:nvSpPr>
        <p:spPr>
          <a:xfrm>
            <a:off x="1690555" y="3257156"/>
            <a:ext cx="2466498" cy="322840"/>
          </a:xfrm>
          <a:prstGeom prst="rect">
            <a:avLst/>
          </a:prstGeom>
          <a:solidFill>
            <a:srgbClr val="0042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entury Gothic"/>
              <a:ea typeface="+mn-ea"/>
              <a:cs typeface="+mn-cs"/>
            </a:endParaRPr>
          </a:p>
        </p:txBody>
      </p:sp>
      <p:sp>
        <p:nvSpPr>
          <p:cNvPr id="50" name="Rectángulo 49">
            <a:extLst>
              <a:ext uri="{FF2B5EF4-FFF2-40B4-BE49-F238E27FC236}">
                <a16:creationId xmlns:a16="http://schemas.microsoft.com/office/drawing/2014/main" id="{0039D68E-0274-7FB4-C9C8-0CA50C6EF312}"/>
              </a:ext>
            </a:extLst>
          </p:cNvPr>
          <p:cNvSpPr/>
          <p:nvPr/>
        </p:nvSpPr>
        <p:spPr>
          <a:xfrm>
            <a:off x="2718797" y="4022143"/>
            <a:ext cx="4470618" cy="322840"/>
          </a:xfrm>
          <a:prstGeom prst="rect">
            <a:avLst/>
          </a:prstGeom>
          <a:solidFill>
            <a:srgbClr val="0042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entury Gothic"/>
              <a:ea typeface="+mn-ea"/>
              <a:cs typeface="+mn-cs"/>
            </a:endParaRPr>
          </a:p>
        </p:txBody>
      </p:sp>
      <p:sp>
        <p:nvSpPr>
          <p:cNvPr id="51" name="Rectangle 36">
            <a:extLst>
              <a:ext uri="{FF2B5EF4-FFF2-40B4-BE49-F238E27FC236}">
                <a16:creationId xmlns:a16="http://schemas.microsoft.com/office/drawing/2014/main" id="{5AEBE689-40F8-36CA-7C08-16D88971C2AC}"/>
              </a:ext>
            </a:extLst>
          </p:cNvPr>
          <p:cNvSpPr>
            <a:spLocks/>
          </p:cNvSpPr>
          <p:nvPr/>
        </p:nvSpPr>
        <p:spPr bwMode="auto">
          <a:xfrm>
            <a:off x="2093793" y="3259782"/>
            <a:ext cx="1908961" cy="294766"/>
          </a:xfrm>
          <a:prstGeom prst="rect">
            <a:avLst/>
          </a:prstGeom>
          <a:noFill/>
          <a:ln w="12700" cap="flat">
            <a:noFill/>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white"/>
                </a:solidFill>
                <a:latin typeface="Arial" panose="020B0604020202020204" pitchFamily="34" charset="0"/>
                <a:cs typeface="Arial" panose="020B0604020202020204" pitchFamily="34" charset="0"/>
                <a:sym typeface="Calibri Bold" panose="020F0702030404030204" pitchFamily="34" charset="0"/>
              </a:rPr>
              <a:t> 01 - 09 August</a:t>
            </a:r>
          </a:p>
        </p:txBody>
      </p:sp>
      <p:sp>
        <p:nvSpPr>
          <p:cNvPr id="52" name="Rectangle 39">
            <a:extLst>
              <a:ext uri="{FF2B5EF4-FFF2-40B4-BE49-F238E27FC236}">
                <a16:creationId xmlns:a16="http://schemas.microsoft.com/office/drawing/2014/main" id="{D0E2528C-6125-533C-A96F-1A2F48E634BE}"/>
              </a:ext>
            </a:extLst>
          </p:cNvPr>
          <p:cNvSpPr>
            <a:spLocks/>
          </p:cNvSpPr>
          <p:nvPr/>
        </p:nvSpPr>
        <p:spPr bwMode="auto">
          <a:xfrm>
            <a:off x="3076726" y="4033754"/>
            <a:ext cx="1908960" cy="294766"/>
          </a:xfrm>
          <a:prstGeom prst="rect">
            <a:avLst/>
          </a:prstGeom>
          <a:noFill/>
          <a:ln w="12700" cap="flat">
            <a:noFill/>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algn="ctr"/>
            <a:r>
              <a:rPr lang="en-US">
                <a:solidFill>
                  <a:prstClr val="white"/>
                </a:solidFill>
                <a:latin typeface="Arial" panose="020B0604020202020204" pitchFamily="34" charset="0"/>
                <a:cs typeface="Arial" panose="020B0604020202020204" pitchFamily="34" charset="0"/>
                <a:sym typeface="Calibri Bold" panose="020F0702030404030204" pitchFamily="34" charset="0"/>
              </a:rPr>
              <a:t>04 - 18 August</a:t>
            </a:r>
          </a:p>
        </p:txBody>
      </p:sp>
      <p:sp>
        <p:nvSpPr>
          <p:cNvPr id="53" name="Rectangle 42">
            <a:extLst>
              <a:ext uri="{FF2B5EF4-FFF2-40B4-BE49-F238E27FC236}">
                <a16:creationId xmlns:a16="http://schemas.microsoft.com/office/drawing/2014/main" id="{0321C415-7351-0C5F-7811-C911764D4150}"/>
              </a:ext>
            </a:extLst>
          </p:cNvPr>
          <p:cNvSpPr>
            <a:spLocks/>
          </p:cNvSpPr>
          <p:nvPr/>
        </p:nvSpPr>
        <p:spPr bwMode="auto">
          <a:xfrm>
            <a:off x="2136206" y="4754666"/>
            <a:ext cx="1908960" cy="294766"/>
          </a:xfrm>
          <a:prstGeom prst="rect">
            <a:avLst/>
          </a:prstGeom>
          <a:noFill/>
          <a:ln w="12700" cap="flat">
            <a:noFill/>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white"/>
                </a:solidFill>
                <a:latin typeface="Arial" panose="020B0604020202020204" pitchFamily="34" charset="0"/>
                <a:cs typeface="Arial" panose="020B0604020202020204" pitchFamily="34" charset="0"/>
                <a:sym typeface="Calibri Bold" panose="020F0702030404030204" pitchFamily="34" charset="0"/>
              </a:rPr>
              <a:t>01 - 09 August</a:t>
            </a:r>
          </a:p>
        </p:txBody>
      </p:sp>
      <p:sp>
        <p:nvSpPr>
          <p:cNvPr id="54" name="Rectangle 45">
            <a:extLst>
              <a:ext uri="{FF2B5EF4-FFF2-40B4-BE49-F238E27FC236}">
                <a16:creationId xmlns:a16="http://schemas.microsoft.com/office/drawing/2014/main" id="{4FCCDA54-F7E8-6F12-79E2-C5F48CBE9CED}"/>
              </a:ext>
            </a:extLst>
          </p:cNvPr>
          <p:cNvSpPr>
            <a:spLocks/>
          </p:cNvSpPr>
          <p:nvPr/>
        </p:nvSpPr>
        <p:spPr bwMode="auto">
          <a:xfrm>
            <a:off x="6227840" y="5497134"/>
            <a:ext cx="1908960" cy="294766"/>
          </a:xfrm>
          <a:prstGeom prst="rect">
            <a:avLst/>
          </a:prstGeom>
          <a:noFill/>
          <a:ln w="12700" cap="flat">
            <a:noFill/>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white"/>
                </a:solidFill>
                <a:latin typeface="Arial" panose="020B0604020202020204" pitchFamily="34" charset="0"/>
                <a:cs typeface="Arial" panose="020B0604020202020204" pitchFamily="34" charset="0"/>
                <a:sym typeface="Calibri Bold" panose="020F0702030404030204" pitchFamily="34" charset="0"/>
              </a:rPr>
              <a:t>09 - 27 August</a:t>
            </a:r>
          </a:p>
        </p:txBody>
      </p:sp>
      <p:sp>
        <p:nvSpPr>
          <p:cNvPr id="55" name="Rectangle 48">
            <a:extLst>
              <a:ext uri="{FF2B5EF4-FFF2-40B4-BE49-F238E27FC236}">
                <a16:creationId xmlns:a16="http://schemas.microsoft.com/office/drawing/2014/main" id="{4CD78155-EB09-981E-0A44-6A07B6877137}"/>
              </a:ext>
            </a:extLst>
          </p:cNvPr>
          <p:cNvSpPr>
            <a:spLocks/>
          </p:cNvSpPr>
          <p:nvPr/>
        </p:nvSpPr>
        <p:spPr bwMode="auto">
          <a:xfrm>
            <a:off x="8501750" y="4754666"/>
            <a:ext cx="1908960" cy="294766"/>
          </a:xfrm>
          <a:prstGeom prst="rect">
            <a:avLst/>
          </a:prstGeom>
          <a:noFill/>
          <a:ln w="12700" cap="flat">
            <a:noFill/>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r>
              <a:rPr lang="en-US">
                <a:solidFill>
                  <a:prstClr val="white"/>
                </a:solidFill>
                <a:latin typeface="Arial" panose="020B0604020202020204" pitchFamily="34" charset="0"/>
                <a:cs typeface="Arial" panose="020B0604020202020204" pitchFamily="34" charset="0"/>
                <a:sym typeface="Calibri Bold" panose="020F0702030404030204" pitchFamily="34" charset="0"/>
              </a:rPr>
              <a:t>25 – 31 August</a:t>
            </a:r>
          </a:p>
        </p:txBody>
      </p:sp>
    </p:spTree>
    <p:extLst>
      <p:ext uri="{BB962C8B-B14F-4D97-AF65-F5344CB8AC3E}">
        <p14:creationId xmlns:p14="http://schemas.microsoft.com/office/powerpoint/2010/main" val="15673590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72AF6-06F4-BC0C-9AB0-FB306AF7223B}"/>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84347E7A-AACC-2910-1727-41F31957FFE2}"/>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C0211A92-EA1B-1797-A915-80C282A386DE}"/>
              </a:ext>
            </a:extLst>
          </p:cNvPr>
          <p:cNvSpPr>
            <a:spLocks noGrp="1"/>
          </p:cNvSpPr>
          <p:nvPr>
            <p:ph type="sldNum" sz="quarter" idx="12"/>
          </p:nvPr>
        </p:nvSpPr>
        <p:spPr/>
        <p:txBody>
          <a:bodyPr/>
          <a:lstStyle/>
          <a:p>
            <a:fld id="{FF2CED2D-DE01-CB40-AEF5-C9DD7CD06225}" type="slidenum">
              <a:rPr lang="es-ES" smtClean="0"/>
              <a:pPr/>
              <a:t>53</a:t>
            </a:fld>
            <a:endParaRPr lang="es-ES"/>
          </a:p>
        </p:txBody>
      </p:sp>
      <p:sp>
        <p:nvSpPr>
          <p:cNvPr id="4" name="Marcador de texto 3">
            <a:extLst>
              <a:ext uri="{FF2B5EF4-FFF2-40B4-BE49-F238E27FC236}">
                <a16:creationId xmlns:a16="http://schemas.microsoft.com/office/drawing/2014/main" id="{0FFDE274-A629-C225-5B21-FB579F7D7A44}"/>
              </a:ext>
            </a:extLst>
          </p:cNvPr>
          <p:cNvSpPr>
            <a:spLocks noGrp="1"/>
          </p:cNvSpPr>
          <p:nvPr>
            <p:ph type="body" sz="quarter" idx="15"/>
          </p:nvPr>
        </p:nvSpPr>
        <p:spPr/>
        <p:txBody>
          <a:bodyPr/>
          <a:lstStyle/>
          <a:p>
            <a:endParaRPr lang="en-GB"/>
          </a:p>
        </p:txBody>
      </p:sp>
      <p:graphicFrame>
        <p:nvGraphicFramePr>
          <p:cNvPr id="7" name="Tabla 6">
            <a:extLst>
              <a:ext uri="{FF2B5EF4-FFF2-40B4-BE49-F238E27FC236}">
                <a16:creationId xmlns:a16="http://schemas.microsoft.com/office/drawing/2014/main" id="{8396BA0B-8164-D37C-2B76-11159A584144}"/>
              </a:ext>
            </a:extLst>
          </p:cNvPr>
          <p:cNvGraphicFramePr>
            <a:graphicFrameLocks noGrp="1"/>
          </p:cNvGraphicFramePr>
          <p:nvPr>
            <p:extLst>
              <p:ext uri="{D42A27DB-BD31-4B8C-83A1-F6EECF244321}">
                <p14:modId xmlns:p14="http://schemas.microsoft.com/office/powerpoint/2010/main" val="2029219569"/>
              </p:ext>
            </p:extLst>
          </p:nvPr>
        </p:nvGraphicFramePr>
        <p:xfrm>
          <a:off x="511442" y="1087214"/>
          <a:ext cx="11232212" cy="5039698"/>
        </p:xfrm>
        <a:graphic>
          <a:graphicData uri="http://schemas.openxmlformats.org/drawingml/2006/table">
            <a:tbl>
              <a:tblPr firstRow="1" bandRow="1"/>
              <a:tblGrid>
                <a:gridCol w="5616106">
                  <a:extLst>
                    <a:ext uri="{9D8B030D-6E8A-4147-A177-3AD203B41FA5}">
                      <a16:colId xmlns:a16="http://schemas.microsoft.com/office/drawing/2014/main" val="936631334"/>
                    </a:ext>
                  </a:extLst>
                </a:gridCol>
                <a:gridCol w="5616106">
                  <a:extLst>
                    <a:ext uri="{9D8B030D-6E8A-4147-A177-3AD203B41FA5}">
                      <a16:colId xmlns:a16="http://schemas.microsoft.com/office/drawing/2014/main" val="898248057"/>
                    </a:ext>
                  </a:extLst>
                </a:gridCol>
              </a:tblGrid>
              <a:tr h="441352">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panose="020B0604020202020204" pitchFamily="34" charset="0"/>
                          <a:cs typeface="Times New Roman"/>
                        </a:rPr>
                        <a:t>PLAN / MILESTONES</a:t>
                      </a: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b="1" kern="1200">
                          <a:solidFill>
                            <a:schemeClr val="lt1"/>
                          </a:solidFill>
                          <a:latin typeface="Aptos" panose="02110004020202020204"/>
                        </a:defRPr>
                      </a:lvl1pPr>
                      <a:lvl2pPr marL="457200" algn="l" defTabSz="914400" rtl="0" eaLnBrk="1" latinLnBrk="0" hangingPunct="1">
                        <a:defRPr sz="1800" b="1" kern="1200">
                          <a:solidFill>
                            <a:schemeClr val="lt1"/>
                          </a:solidFill>
                          <a:latin typeface="Aptos" panose="02110004020202020204"/>
                        </a:defRPr>
                      </a:lvl2pPr>
                      <a:lvl3pPr marL="914400" algn="l" defTabSz="914400" rtl="0" eaLnBrk="1" latinLnBrk="0" hangingPunct="1">
                        <a:defRPr sz="1800" b="1" kern="1200">
                          <a:solidFill>
                            <a:schemeClr val="lt1"/>
                          </a:solidFill>
                          <a:latin typeface="Aptos" panose="02110004020202020204"/>
                        </a:defRPr>
                      </a:lvl3pPr>
                      <a:lvl4pPr marL="1371600" algn="l" defTabSz="914400" rtl="0" eaLnBrk="1" latinLnBrk="0" hangingPunct="1">
                        <a:defRPr sz="1800" b="1" kern="1200">
                          <a:solidFill>
                            <a:schemeClr val="lt1"/>
                          </a:solidFill>
                          <a:latin typeface="Aptos" panose="02110004020202020204"/>
                        </a:defRPr>
                      </a:lvl4pPr>
                      <a:lvl5pPr marL="1828800" algn="l" defTabSz="914400" rtl="0" eaLnBrk="1" latinLnBrk="0" hangingPunct="1">
                        <a:defRPr sz="1800" b="1" kern="1200">
                          <a:solidFill>
                            <a:schemeClr val="lt1"/>
                          </a:solidFill>
                          <a:latin typeface="Aptos" panose="02110004020202020204"/>
                        </a:defRPr>
                      </a:lvl5pPr>
                      <a:lvl6pPr marL="2286000" algn="l" defTabSz="914400" rtl="0" eaLnBrk="1" latinLnBrk="0" hangingPunct="1">
                        <a:defRPr sz="1800" b="1" kern="1200">
                          <a:solidFill>
                            <a:schemeClr val="lt1"/>
                          </a:solidFill>
                          <a:latin typeface="Aptos" panose="02110004020202020204"/>
                        </a:defRPr>
                      </a:lvl6pPr>
                      <a:lvl7pPr marL="2743200" algn="l" defTabSz="914400" rtl="0" eaLnBrk="1" latinLnBrk="0" hangingPunct="1">
                        <a:defRPr sz="1800" b="1" kern="1200">
                          <a:solidFill>
                            <a:schemeClr val="lt1"/>
                          </a:solidFill>
                          <a:latin typeface="Aptos" panose="02110004020202020204"/>
                        </a:defRPr>
                      </a:lvl7pPr>
                      <a:lvl8pPr marL="3200400" algn="l" defTabSz="914400" rtl="0" eaLnBrk="1" latinLnBrk="0" hangingPunct="1">
                        <a:defRPr sz="1800" b="1" kern="1200">
                          <a:solidFill>
                            <a:schemeClr val="lt1"/>
                          </a:solidFill>
                          <a:latin typeface="Aptos" panose="02110004020202020204"/>
                        </a:defRPr>
                      </a:lvl8pPr>
                      <a:lvl9pPr marL="3657600" algn="l" defTabSz="914400" rtl="0" eaLnBrk="1" latinLnBrk="0" hangingPunct="1">
                        <a:defRPr sz="1800" b="1" kern="1200">
                          <a:solidFill>
                            <a:schemeClr val="lt1"/>
                          </a:solidFill>
                          <a:latin typeface="Aptos" panose="02110004020202020204"/>
                        </a:defRPr>
                      </a:lvl9pPr>
                    </a:lstStyle>
                    <a:p>
                      <a:r>
                        <a:rPr kumimoji="0" lang="en-US" sz="1400" b="1" i="0" u="none" strike="noStrike" kern="1200" cap="none" spc="0" normalizeH="0" baseline="0" noProof="0">
                          <a:ln>
                            <a:noFill/>
                          </a:ln>
                          <a:solidFill>
                            <a:prstClr val="white"/>
                          </a:solidFill>
                          <a:effectLst/>
                          <a:uLnTx/>
                          <a:uFillTx/>
                          <a:latin typeface="Arial Narrow" panose="020B0604020202020204" pitchFamily="34" charset="0"/>
                          <a:cs typeface="Times New Roman"/>
                        </a:rPr>
                        <a:t>HIGHLIGHTS</a:t>
                      </a:r>
                      <a:endParaRPr lang="en-GB" sz="1400" b="1" i="0">
                        <a:latin typeface="Arial Narrow" panose="020B0604020202020204" pitchFamily="34" charset="0"/>
                      </a:endParaRP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extLst>
                  <a:ext uri="{0D108BD9-81ED-4DB2-BD59-A6C34878D82A}">
                    <a16:rowId xmlns:a16="http://schemas.microsoft.com/office/drawing/2014/main" val="462968229"/>
                  </a:ext>
                </a:extLst>
              </a:tr>
              <a:tr h="1676598">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s-ES" sz="1200" b="0" i="0">
                          <a:latin typeface="Arial" panose="020B0604020202020204" pitchFamily="34" charset="0"/>
                          <a:cs typeface="Arial" panose="020B0604020202020204" pitchFamily="34" charset="0"/>
                        </a:rPr>
                        <a:t>Text</a:t>
                      </a:r>
                      <a:endParaRPr lang="en-GB" sz="1200" b="0" i="0">
                        <a:latin typeface="Arial" panose="020B0604020202020204" pitchFamily="34" charset="0"/>
                        <a:cs typeface="Arial" panose="020B0604020202020204" pitchFamily="34" charset="0"/>
                      </a:endParaRP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r>
                        <a:rPr lang="es-ES" sz="1200" b="0" i="0">
                          <a:latin typeface="Arial" panose="020B0604020202020204" pitchFamily="34" charset="0"/>
                          <a:cs typeface="Arial" panose="020B0604020202020204" pitchFamily="34" charset="0"/>
                        </a:rPr>
                        <a:t>Text</a:t>
                      </a:r>
                      <a:endParaRPr lang="en-GB" sz="1200" b="0" i="0">
                        <a:latin typeface="Arial" panose="020B0604020202020204" pitchFamily="34" charset="0"/>
                        <a:cs typeface="Arial" panose="020B0604020202020204" pitchFamily="34" charset="0"/>
                      </a:endParaRP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67394229"/>
                  </a:ext>
                </a:extLst>
              </a:tr>
              <a:tr h="441352">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panose="020B0604020202020204" pitchFamily="34" charset="0"/>
                          <a:cs typeface="Times New Roman"/>
                        </a:rPr>
                        <a:t>RISK / ISSUES / OPPORTUNITIES</a:t>
                      </a: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panose="020B0604020202020204" pitchFamily="34" charset="0"/>
                          <a:cs typeface="Times New Roman"/>
                        </a:rPr>
                        <a:t>WORK IN PROGRESS</a:t>
                      </a: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extLst>
                  <a:ext uri="{0D108BD9-81ED-4DB2-BD59-A6C34878D82A}">
                    <a16:rowId xmlns:a16="http://schemas.microsoft.com/office/drawing/2014/main" val="3473157631"/>
                  </a:ext>
                </a:extLst>
              </a:tr>
              <a:tr h="1216084">
                <a:tc rowSpan="3">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i="0">
                          <a:latin typeface="Arial" panose="020B0604020202020204" pitchFamily="34" charset="0"/>
                          <a:cs typeface="Arial" panose="020B0604020202020204" pitchFamily="34" charset="0"/>
                        </a:rPr>
                        <a:t>Text</a:t>
                      </a:r>
                      <a:endParaRPr lang="en-GB" sz="1200" b="0" i="0">
                        <a:latin typeface="Arial" panose="020B0604020202020204" pitchFamily="34" charset="0"/>
                        <a:cs typeface="Arial" panose="020B0604020202020204" pitchFamily="34" charset="0"/>
                      </a:endParaRPr>
                    </a:p>
                    <a:p>
                      <a:endParaRPr lang="en-GB" sz="1200"/>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i="0">
                          <a:latin typeface="Arial" panose="020B0604020202020204" pitchFamily="34" charset="0"/>
                          <a:cs typeface="Arial" panose="020B0604020202020204" pitchFamily="34" charset="0"/>
                        </a:rPr>
                        <a:t>Text</a:t>
                      </a:r>
                      <a:endParaRPr lang="en-GB" sz="1200" b="0" i="0">
                        <a:latin typeface="Arial" panose="020B0604020202020204" pitchFamily="34" charset="0"/>
                        <a:cs typeface="Arial" panose="020B0604020202020204" pitchFamily="34" charset="0"/>
                      </a:endParaRPr>
                    </a:p>
                    <a:p>
                      <a:endParaRPr lang="en-GB" sz="1200"/>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65549451"/>
                  </a:ext>
                </a:extLst>
              </a:tr>
              <a:tr h="441352">
                <a:tc vMerge="1">
                  <a:txBody>
                    <a:bodyPr/>
                    <a:lstStyle/>
                    <a:p>
                      <a:endParaRPr lang="en-GB"/>
                    </a:p>
                  </a:txBody>
                  <a:tcPr>
                    <a:solidFill>
                      <a:schemeClr val="bg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panose="020B0604020202020204" pitchFamily="34" charset="0"/>
                          <a:cs typeface="Times New Roman"/>
                        </a:rPr>
                        <a:t>HELP NEEDED / RESOURCES</a:t>
                      </a: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extLst>
                  <a:ext uri="{0D108BD9-81ED-4DB2-BD59-A6C34878D82A}">
                    <a16:rowId xmlns:a16="http://schemas.microsoft.com/office/drawing/2014/main" val="3542485126"/>
                  </a:ext>
                </a:extLst>
              </a:tr>
              <a:tr h="441352">
                <a:tc vMerge="1">
                  <a:txBody>
                    <a:bodyPr/>
                    <a:lstStyle/>
                    <a:p>
                      <a:endParaRPr lang="en-GB"/>
                    </a:p>
                  </a:txBody>
                  <a:tcPr>
                    <a:solidFill>
                      <a:schemeClr val="bg1"/>
                    </a:solidFill>
                  </a:tcPr>
                </a:tc>
                <a:tc>
                  <a:txBody>
                    <a:bodyPr/>
                    <a:lstStyle>
                      <a:lvl1pPr marL="0" algn="l" defTabSz="914400" rtl="0" eaLnBrk="1" latinLnBrk="0" hangingPunct="1">
                        <a:defRPr sz="1800" kern="1200">
                          <a:solidFill>
                            <a:schemeClr val="dk1"/>
                          </a:solidFill>
                          <a:latin typeface="Aptos" panose="02110004020202020204"/>
                        </a:defRPr>
                      </a:lvl1pPr>
                      <a:lvl2pPr marL="457200" algn="l" defTabSz="914400" rtl="0" eaLnBrk="1" latinLnBrk="0" hangingPunct="1">
                        <a:defRPr sz="1800" kern="1200">
                          <a:solidFill>
                            <a:schemeClr val="dk1"/>
                          </a:solidFill>
                          <a:latin typeface="Aptos" panose="02110004020202020204"/>
                        </a:defRPr>
                      </a:lvl2pPr>
                      <a:lvl3pPr marL="914400" algn="l" defTabSz="914400" rtl="0" eaLnBrk="1" latinLnBrk="0" hangingPunct="1">
                        <a:defRPr sz="1800" kern="1200">
                          <a:solidFill>
                            <a:schemeClr val="dk1"/>
                          </a:solidFill>
                          <a:latin typeface="Aptos" panose="02110004020202020204"/>
                        </a:defRPr>
                      </a:lvl3pPr>
                      <a:lvl4pPr marL="1371600" algn="l" defTabSz="914400" rtl="0" eaLnBrk="1" latinLnBrk="0" hangingPunct="1">
                        <a:defRPr sz="1800" kern="1200">
                          <a:solidFill>
                            <a:schemeClr val="dk1"/>
                          </a:solidFill>
                          <a:latin typeface="Aptos" panose="02110004020202020204"/>
                        </a:defRPr>
                      </a:lvl4pPr>
                      <a:lvl5pPr marL="1828800" algn="l" defTabSz="914400" rtl="0" eaLnBrk="1" latinLnBrk="0" hangingPunct="1">
                        <a:defRPr sz="1800" kern="1200">
                          <a:solidFill>
                            <a:schemeClr val="dk1"/>
                          </a:solidFill>
                          <a:latin typeface="Aptos" panose="02110004020202020204"/>
                        </a:defRPr>
                      </a:lvl5pPr>
                      <a:lvl6pPr marL="2286000" algn="l" defTabSz="914400" rtl="0" eaLnBrk="1" latinLnBrk="0" hangingPunct="1">
                        <a:defRPr sz="1800" kern="1200">
                          <a:solidFill>
                            <a:schemeClr val="dk1"/>
                          </a:solidFill>
                          <a:latin typeface="Aptos" panose="02110004020202020204"/>
                        </a:defRPr>
                      </a:lvl6pPr>
                      <a:lvl7pPr marL="2743200" algn="l" defTabSz="914400" rtl="0" eaLnBrk="1" latinLnBrk="0" hangingPunct="1">
                        <a:defRPr sz="1800" kern="1200">
                          <a:solidFill>
                            <a:schemeClr val="dk1"/>
                          </a:solidFill>
                          <a:latin typeface="Aptos" panose="02110004020202020204"/>
                        </a:defRPr>
                      </a:lvl7pPr>
                      <a:lvl8pPr marL="3200400" algn="l" defTabSz="914400" rtl="0" eaLnBrk="1" latinLnBrk="0" hangingPunct="1">
                        <a:defRPr sz="1800" kern="1200">
                          <a:solidFill>
                            <a:schemeClr val="dk1"/>
                          </a:solidFill>
                          <a:latin typeface="Aptos" panose="02110004020202020204"/>
                        </a:defRPr>
                      </a:lvl8pPr>
                      <a:lvl9pPr marL="3657600" algn="l" defTabSz="914400" rtl="0" eaLnBrk="1" latinLnBrk="0" hangingPunct="1">
                        <a:defRPr sz="1800" kern="1200">
                          <a:solidFill>
                            <a:schemeClr val="dk1"/>
                          </a:solidFill>
                          <a:latin typeface="Aptos" panose="021100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i="0">
                          <a:latin typeface="Arial" panose="020B0604020202020204" pitchFamily="34" charset="0"/>
                          <a:cs typeface="Arial" panose="020B0604020202020204" pitchFamily="34" charset="0"/>
                        </a:rPr>
                        <a:t>Text</a:t>
                      </a:r>
                      <a:endParaRPr lang="en-GB" sz="1200" b="0" i="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cs typeface="Times New Roman"/>
                      </a:endParaRPr>
                    </a:p>
                  </a:txBody>
                  <a:tcPr>
                    <a:lnL w="9525" cap="flat" cmpd="sng" algn="ctr">
                      <a:solidFill>
                        <a:srgbClr val="E8E8E8"/>
                      </a:solidFill>
                      <a:prstDash val="solid"/>
                      <a:round/>
                      <a:headEnd type="none" w="med" len="med"/>
                      <a:tailEnd type="none" w="med" len="med"/>
                    </a:lnL>
                    <a:lnR w="9525" cap="flat" cmpd="sng" algn="ctr">
                      <a:solidFill>
                        <a:srgbClr val="E8E8E8"/>
                      </a:solid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79535831"/>
                  </a:ext>
                </a:extLst>
              </a:tr>
            </a:tbl>
          </a:graphicData>
        </a:graphic>
      </p:graphicFrame>
    </p:spTree>
    <p:extLst>
      <p:ext uri="{BB962C8B-B14F-4D97-AF65-F5344CB8AC3E}">
        <p14:creationId xmlns:p14="http://schemas.microsoft.com/office/powerpoint/2010/main" val="6474669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1A2E2-9A51-3B94-4184-DF7588F133BC}"/>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545D2CC-19AA-2620-7C20-1334AE729882}"/>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B27A9135-3C57-3C69-C029-13226EAE800F}"/>
              </a:ext>
            </a:extLst>
          </p:cNvPr>
          <p:cNvSpPr>
            <a:spLocks noGrp="1"/>
          </p:cNvSpPr>
          <p:nvPr>
            <p:ph type="sldNum" sz="quarter" idx="12"/>
          </p:nvPr>
        </p:nvSpPr>
        <p:spPr/>
        <p:txBody>
          <a:bodyPr/>
          <a:lstStyle/>
          <a:p>
            <a:fld id="{FF2CED2D-DE01-CB40-AEF5-C9DD7CD06225}" type="slidenum">
              <a:rPr lang="es-ES" smtClean="0"/>
              <a:pPr/>
              <a:t>54</a:t>
            </a:fld>
            <a:endParaRPr lang="es-ES"/>
          </a:p>
        </p:txBody>
      </p:sp>
      <p:sp>
        <p:nvSpPr>
          <p:cNvPr id="4" name="Marcador de texto 3">
            <a:extLst>
              <a:ext uri="{FF2B5EF4-FFF2-40B4-BE49-F238E27FC236}">
                <a16:creationId xmlns:a16="http://schemas.microsoft.com/office/drawing/2014/main" id="{0EAE446D-B566-F966-FFBC-31F751BDCEC1}"/>
              </a:ext>
            </a:extLst>
          </p:cNvPr>
          <p:cNvSpPr>
            <a:spLocks noGrp="1"/>
          </p:cNvSpPr>
          <p:nvPr>
            <p:ph type="body" sz="quarter" idx="15"/>
          </p:nvPr>
        </p:nvSpPr>
        <p:spPr/>
        <p:txBody>
          <a:bodyPr/>
          <a:lstStyle/>
          <a:p>
            <a:endParaRPr lang="en-GB"/>
          </a:p>
        </p:txBody>
      </p:sp>
      <p:cxnSp>
        <p:nvCxnSpPr>
          <p:cNvPr id="89" name="Conector recto 139">
            <a:extLst>
              <a:ext uri="{FF2B5EF4-FFF2-40B4-BE49-F238E27FC236}">
                <a16:creationId xmlns:a16="http://schemas.microsoft.com/office/drawing/2014/main" id="{D961D9CD-E383-DB02-0A92-63641FA8F3D1}"/>
              </a:ext>
            </a:extLst>
          </p:cNvPr>
          <p:cNvCxnSpPr>
            <a:cxnSpLocks/>
          </p:cNvCxnSpPr>
          <p:nvPr/>
        </p:nvCxnSpPr>
        <p:spPr>
          <a:xfrm>
            <a:off x="501649" y="1231497"/>
            <a:ext cx="852437" cy="0"/>
          </a:xfrm>
          <a:prstGeom prst="line">
            <a:avLst/>
          </a:prstGeom>
          <a:noFill/>
          <a:ln w="12700" cap="flat" cmpd="sng" algn="ctr">
            <a:solidFill>
              <a:sysClr val="windowText" lastClr="000000"/>
            </a:solidFill>
            <a:prstDash val="solid"/>
            <a:miter lim="800000"/>
          </a:ln>
          <a:effectLst/>
        </p:spPr>
      </p:cxnSp>
      <p:sp>
        <p:nvSpPr>
          <p:cNvPr id="90" name="Rectángulo 140">
            <a:extLst>
              <a:ext uri="{FF2B5EF4-FFF2-40B4-BE49-F238E27FC236}">
                <a16:creationId xmlns:a16="http://schemas.microsoft.com/office/drawing/2014/main" id="{58DA456E-FFF0-1DB7-E39D-FFC230B31DE2}"/>
              </a:ext>
            </a:extLst>
          </p:cNvPr>
          <p:cNvSpPr/>
          <p:nvPr/>
        </p:nvSpPr>
        <p:spPr>
          <a:xfrm>
            <a:off x="417426" y="1050478"/>
            <a:ext cx="1032376"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SUB - PROJECT</a:t>
            </a:r>
          </a:p>
        </p:txBody>
      </p:sp>
      <p:grpSp>
        <p:nvGrpSpPr>
          <p:cNvPr id="91" name="Grupo 141">
            <a:extLst>
              <a:ext uri="{FF2B5EF4-FFF2-40B4-BE49-F238E27FC236}">
                <a16:creationId xmlns:a16="http://schemas.microsoft.com/office/drawing/2014/main" id="{D952E7E7-6958-FA18-C620-D774DDA0AE1E}"/>
              </a:ext>
            </a:extLst>
          </p:cNvPr>
          <p:cNvGrpSpPr/>
          <p:nvPr/>
        </p:nvGrpSpPr>
        <p:grpSpPr>
          <a:xfrm>
            <a:off x="1421093" y="1050478"/>
            <a:ext cx="1220821" cy="181019"/>
            <a:chOff x="1653397" y="1321116"/>
            <a:chExt cx="1025018" cy="181019"/>
          </a:xfrm>
        </p:grpSpPr>
        <p:sp>
          <p:nvSpPr>
            <p:cNvPr id="92" name="Rectángulo 142">
              <a:extLst>
                <a:ext uri="{FF2B5EF4-FFF2-40B4-BE49-F238E27FC236}">
                  <a16:creationId xmlns:a16="http://schemas.microsoft.com/office/drawing/2014/main" id="{EF212B18-4E81-8258-CD2E-DFC61B65F041}"/>
                </a:ext>
              </a:extLst>
            </p:cNvPr>
            <p:cNvSpPr/>
            <p:nvPr/>
          </p:nvSpPr>
          <p:spPr>
            <a:xfrm>
              <a:off x="1653397" y="1321116"/>
              <a:ext cx="1025018"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BUILDING BLOCK</a:t>
              </a:r>
            </a:p>
          </p:txBody>
        </p:sp>
        <p:cxnSp>
          <p:nvCxnSpPr>
            <p:cNvPr id="93" name="Conector recto 143">
              <a:extLst>
                <a:ext uri="{FF2B5EF4-FFF2-40B4-BE49-F238E27FC236}">
                  <a16:creationId xmlns:a16="http://schemas.microsoft.com/office/drawing/2014/main" id="{2E1E02C9-9D73-F410-4DF1-F711C35D6F96}"/>
                </a:ext>
              </a:extLst>
            </p:cNvPr>
            <p:cNvCxnSpPr>
              <a:cxnSpLocks/>
            </p:cNvCxnSpPr>
            <p:nvPr/>
          </p:nvCxnSpPr>
          <p:spPr>
            <a:xfrm>
              <a:off x="1655373" y="1502135"/>
              <a:ext cx="1023042" cy="0"/>
            </a:xfrm>
            <a:prstGeom prst="line">
              <a:avLst/>
            </a:prstGeom>
            <a:noFill/>
            <a:ln w="12700" cap="flat" cmpd="sng" algn="ctr">
              <a:solidFill>
                <a:sysClr val="windowText" lastClr="000000"/>
              </a:solidFill>
              <a:prstDash val="solid"/>
              <a:miter lim="800000"/>
            </a:ln>
            <a:effectLst/>
          </p:spPr>
        </p:cxnSp>
      </p:grpSp>
      <p:grpSp>
        <p:nvGrpSpPr>
          <p:cNvPr id="94" name="Grupo 144">
            <a:extLst>
              <a:ext uri="{FF2B5EF4-FFF2-40B4-BE49-F238E27FC236}">
                <a16:creationId xmlns:a16="http://schemas.microsoft.com/office/drawing/2014/main" id="{EE10B7E9-060A-5674-83C7-2C253A6CA6AC}"/>
              </a:ext>
            </a:extLst>
          </p:cNvPr>
          <p:cNvGrpSpPr/>
          <p:nvPr/>
        </p:nvGrpSpPr>
        <p:grpSpPr>
          <a:xfrm>
            <a:off x="2747901" y="1050477"/>
            <a:ext cx="811670" cy="181020"/>
            <a:chOff x="2839965" y="1321115"/>
            <a:chExt cx="555085" cy="181020"/>
          </a:xfrm>
        </p:grpSpPr>
        <p:sp>
          <p:nvSpPr>
            <p:cNvPr id="95" name="Rectángulo 145">
              <a:extLst>
                <a:ext uri="{FF2B5EF4-FFF2-40B4-BE49-F238E27FC236}">
                  <a16:creationId xmlns:a16="http://schemas.microsoft.com/office/drawing/2014/main" id="{5C093D1A-B080-1F0F-AF00-A62F230178E4}"/>
                </a:ext>
              </a:extLst>
            </p:cNvPr>
            <p:cNvSpPr/>
            <p:nvPr/>
          </p:nvSpPr>
          <p:spPr>
            <a:xfrm>
              <a:off x="2841377"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JAN</a:t>
              </a:r>
            </a:p>
          </p:txBody>
        </p:sp>
        <p:cxnSp>
          <p:nvCxnSpPr>
            <p:cNvPr id="96" name="Conector recto 146">
              <a:extLst>
                <a:ext uri="{FF2B5EF4-FFF2-40B4-BE49-F238E27FC236}">
                  <a16:creationId xmlns:a16="http://schemas.microsoft.com/office/drawing/2014/main" id="{1D9C78A3-EF3C-B4C4-1726-7AA8C81DF756}"/>
                </a:ext>
              </a:extLst>
            </p:cNvPr>
            <p:cNvCxnSpPr>
              <a:cxnSpLocks/>
            </p:cNvCxnSpPr>
            <p:nvPr/>
          </p:nvCxnSpPr>
          <p:spPr>
            <a:xfrm>
              <a:off x="2839965" y="1502135"/>
              <a:ext cx="555085" cy="0"/>
            </a:xfrm>
            <a:prstGeom prst="line">
              <a:avLst/>
            </a:prstGeom>
            <a:noFill/>
            <a:ln w="12700" cap="flat" cmpd="sng" algn="ctr">
              <a:solidFill>
                <a:sysClr val="windowText" lastClr="000000"/>
              </a:solidFill>
              <a:prstDash val="solid"/>
              <a:miter lim="800000"/>
            </a:ln>
            <a:effectLst/>
          </p:spPr>
        </p:cxnSp>
      </p:grpSp>
      <p:grpSp>
        <p:nvGrpSpPr>
          <p:cNvPr id="97" name="Grupo 147">
            <a:extLst>
              <a:ext uri="{FF2B5EF4-FFF2-40B4-BE49-F238E27FC236}">
                <a16:creationId xmlns:a16="http://schemas.microsoft.com/office/drawing/2014/main" id="{21454922-4520-1AA7-F52B-92007D081256}"/>
              </a:ext>
            </a:extLst>
          </p:cNvPr>
          <p:cNvGrpSpPr/>
          <p:nvPr/>
        </p:nvGrpSpPr>
        <p:grpSpPr>
          <a:xfrm>
            <a:off x="3613405" y="1050477"/>
            <a:ext cx="811670" cy="181020"/>
            <a:chOff x="3484490" y="1321115"/>
            <a:chExt cx="555085" cy="181020"/>
          </a:xfrm>
        </p:grpSpPr>
        <p:sp>
          <p:nvSpPr>
            <p:cNvPr id="98" name="Rectángulo 148">
              <a:extLst>
                <a:ext uri="{FF2B5EF4-FFF2-40B4-BE49-F238E27FC236}">
                  <a16:creationId xmlns:a16="http://schemas.microsoft.com/office/drawing/2014/main" id="{0615A59E-6FFE-D4A9-A5BE-06249A3CA655}"/>
                </a:ext>
              </a:extLst>
            </p:cNvPr>
            <p:cNvSpPr/>
            <p:nvPr/>
          </p:nvSpPr>
          <p:spPr>
            <a:xfrm>
              <a:off x="348590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FEB</a:t>
              </a:r>
            </a:p>
          </p:txBody>
        </p:sp>
        <p:cxnSp>
          <p:nvCxnSpPr>
            <p:cNvPr id="99" name="Conector recto 149">
              <a:extLst>
                <a:ext uri="{FF2B5EF4-FFF2-40B4-BE49-F238E27FC236}">
                  <a16:creationId xmlns:a16="http://schemas.microsoft.com/office/drawing/2014/main" id="{352653CE-1298-81E8-3D40-29F9E1B3B045}"/>
                </a:ext>
              </a:extLst>
            </p:cNvPr>
            <p:cNvCxnSpPr>
              <a:cxnSpLocks/>
            </p:cNvCxnSpPr>
            <p:nvPr/>
          </p:nvCxnSpPr>
          <p:spPr>
            <a:xfrm>
              <a:off x="3484490" y="1502135"/>
              <a:ext cx="555085" cy="0"/>
            </a:xfrm>
            <a:prstGeom prst="line">
              <a:avLst/>
            </a:prstGeom>
            <a:noFill/>
            <a:ln w="12700" cap="flat" cmpd="sng" algn="ctr">
              <a:solidFill>
                <a:sysClr val="windowText" lastClr="000000"/>
              </a:solidFill>
              <a:prstDash val="solid"/>
              <a:miter lim="800000"/>
            </a:ln>
            <a:effectLst/>
          </p:spPr>
        </p:cxnSp>
      </p:grpSp>
      <p:grpSp>
        <p:nvGrpSpPr>
          <p:cNvPr id="100" name="Grupo 150">
            <a:extLst>
              <a:ext uri="{FF2B5EF4-FFF2-40B4-BE49-F238E27FC236}">
                <a16:creationId xmlns:a16="http://schemas.microsoft.com/office/drawing/2014/main" id="{FD6FB652-D56D-4BFC-2728-C2C4E646DE6B}"/>
              </a:ext>
            </a:extLst>
          </p:cNvPr>
          <p:cNvGrpSpPr/>
          <p:nvPr/>
        </p:nvGrpSpPr>
        <p:grpSpPr>
          <a:xfrm>
            <a:off x="4478909" y="1050477"/>
            <a:ext cx="811670" cy="181020"/>
            <a:chOff x="4221090" y="1321115"/>
            <a:chExt cx="555085" cy="181020"/>
          </a:xfrm>
        </p:grpSpPr>
        <p:sp>
          <p:nvSpPr>
            <p:cNvPr id="101" name="Rectángulo 151">
              <a:extLst>
                <a:ext uri="{FF2B5EF4-FFF2-40B4-BE49-F238E27FC236}">
                  <a16:creationId xmlns:a16="http://schemas.microsoft.com/office/drawing/2014/main" id="{F95AC446-3CB0-F4BC-F13F-ABDA2E6E159E}"/>
                </a:ext>
              </a:extLst>
            </p:cNvPr>
            <p:cNvSpPr/>
            <p:nvPr/>
          </p:nvSpPr>
          <p:spPr>
            <a:xfrm>
              <a:off x="422250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MAR</a:t>
              </a:r>
            </a:p>
          </p:txBody>
        </p:sp>
        <p:cxnSp>
          <p:nvCxnSpPr>
            <p:cNvPr id="102" name="Conector recto 152">
              <a:extLst>
                <a:ext uri="{FF2B5EF4-FFF2-40B4-BE49-F238E27FC236}">
                  <a16:creationId xmlns:a16="http://schemas.microsoft.com/office/drawing/2014/main" id="{78958303-D34E-B2C1-D8B2-6B73D187BCB5}"/>
                </a:ext>
              </a:extLst>
            </p:cNvPr>
            <p:cNvCxnSpPr>
              <a:cxnSpLocks/>
            </p:cNvCxnSpPr>
            <p:nvPr/>
          </p:nvCxnSpPr>
          <p:spPr>
            <a:xfrm>
              <a:off x="4221090" y="1502135"/>
              <a:ext cx="555085" cy="0"/>
            </a:xfrm>
            <a:prstGeom prst="line">
              <a:avLst/>
            </a:prstGeom>
            <a:noFill/>
            <a:ln w="12700" cap="flat" cmpd="sng" algn="ctr">
              <a:solidFill>
                <a:sysClr val="windowText" lastClr="000000"/>
              </a:solidFill>
              <a:prstDash val="solid"/>
              <a:miter lim="800000"/>
            </a:ln>
            <a:effectLst/>
          </p:spPr>
        </p:cxnSp>
      </p:grpSp>
      <p:grpSp>
        <p:nvGrpSpPr>
          <p:cNvPr id="103" name="Grupo 153">
            <a:extLst>
              <a:ext uri="{FF2B5EF4-FFF2-40B4-BE49-F238E27FC236}">
                <a16:creationId xmlns:a16="http://schemas.microsoft.com/office/drawing/2014/main" id="{17E4C7F4-8282-14AB-65AA-A903D4A4EABE}"/>
              </a:ext>
            </a:extLst>
          </p:cNvPr>
          <p:cNvGrpSpPr/>
          <p:nvPr/>
        </p:nvGrpSpPr>
        <p:grpSpPr>
          <a:xfrm>
            <a:off x="5344413" y="1050477"/>
            <a:ext cx="811670" cy="181020"/>
            <a:chOff x="4862440" y="1321115"/>
            <a:chExt cx="555085" cy="181020"/>
          </a:xfrm>
        </p:grpSpPr>
        <p:sp>
          <p:nvSpPr>
            <p:cNvPr id="104" name="Rectángulo 154">
              <a:extLst>
                <a:ext uri="{FF2B5EF4-FFF2-40B4-BE49-F238E27FC236}">
                  <a16:creationId xmlns:a16="http://schemas.microsoft.com/office/drawing/2014/main" id="{24B4A67B-55E6-4550-5B1C-443473DFB4EC}"/>
                </a:ext>
              </a:extLst>
            </p:cNvPr>
            <p:cNvSpPr/>
            <p:nvPr/>
          </p:nvSpPr>
          <p:spPr>
            <a:xfrm>
              <a:off x="48638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APR</a:t>
              </a:r>
            </a:p>
          </p:txBody>
        </p:sp>
        <p:cxnSp>
          <p:nvCxnSpPr>
            <p:cNvPr id="105" name="Conector recto 155">
              <a:extLst>
                <a:ext uri="{FF2B5EF4-FFF2-40B4-BE49-F238E27FC236}">
                  <a16:creationId xmlns:a16="http://schemas.microsoft.com/office/drawing/2014/main" id="{5DB7E640-2701-16E8-9060-3FB2754EEF5E}"/>
                </a:ext>
              </a:extLst>
            </p:cNvPr>
            <p:cNvCxnSpPr>
              <a:cxnSpLocks/>
            </p:cNvCxnSpPr>
            <p:nvPr/>
          </p:nvCxnSpPr>
          <p:spPr>
            <a:xfrm>
              <a:off x="4862440" y="1502135"/>
              <a:ext cx="555085" cy="0"/>
            </a:xfrm>
            <a:prstGeom prst="line">
              <a:avLst/>
            </a:prstGeom>
            <a:noFill/>
            <a:ln w="12700" cap="flat" cmpd="sng" algn="ctr">
              <a:solidFill>
                <a:sysClr val="windowText" lastClr="000000"/>
              </a:solidFill>
              <a:prstDash val="solid"/>
              <a:miter lim="800000"/>
            </a:ln>
            <a:effectLst/>
          </p:spPr>
        </p:cxnSp>
      </p:grpSp>
      <p:grpSp>
        <p:nvGrpSpPr>
          <p:cNvPr id="106" name="Grupo 156">
            <a:extLst>
              <a:ext uri="{FF2B5EF4-FFF2-40B4-BE49-F238E27FC236}">
                <a16:creationId xmlns:a16="http://schemas.microsoft.com/office/drawing/2014/main" id="{999B0D44-9799-51B6-39E9-A8227E69AAFD}"/>
              </a:ext>
            </a:extLst>
          </p:cNvPr>
          <p:cNvGrpSpPr/>
          <p:nvPr/>
        </p:nvGrpSpPr>
        <p:grpSpPr>
          <a:xfrm>
            <a:off x="6209917" y="1050477"/>
            <a:ext cx="811670" cy="181020"/>
            <a:chOff x="5726040" y="1321115"/>
            <a:chExt cx="555085" cy="181020"/>
          </a:xfrm>
        </p:grpSpPr>
        <p:sp>
          <p:nvSpPr>
            <p:cNvPr id="107" name="Rectángulo 157">
              <a:extLst>
                <a:ext uri="{FF2B5EF4-FFF2-40B4-BE49-F238E27FC236}">
                  <a16:creationId xmlns:a16="http://schemas.microsoft.com/office/drawing/2014/main" id="{2B22C87A-14C7-FB0F-BBEE-8E261234C44B}"/>
                </a:ext>
              </a:extLst>
            </p:cNvPr>
            <p:cNvSpPr/>
            <p:nvPr/>
          </p:nvSpPr>
          <p:spPr>
            <a:xfrm>
              <a:off x="57274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MAY</a:t>
              </a:r>
            </a:p>
          </p:txBody>
        </p:sp>
        <p:cxnSp>
          <p:nvCxnSpPr>
            <p:cNvPr id="108" name="Conector recto 158">
              <a:extLst>
                <a:ext uri="{FF2B5EF4-FFF2-40B4-BE49-F238E27FC236}">
                  <a16:creationId xmlns:a16="http://schemas.microsoft.com/office/drawing/2014/main" id="{CE79158C-38F6-F581-E673-087D1D92B9E0}"/>
                </a:ext>
              </a:extLst>
            </p:cNvPr>
            <p:cNvCxnSpPr>
              <a:cxnSpLocks/>
            </p:cNvCxnSpPr>
            <p:nvPr/>
          </p:nvCxnSpPr>
          <p:spPr>
            <a:xfrm>
              <a:off x="5726040" y="1502135"/>
              <a:ext cx="555085" cy="0"/>
            </a:xfrm>
            <a:prstGeom prst="line">
              <a:avLst/>
            </a:prstGeom>
            <a:noFill/>
            <a:ln w="12700" cap="flat" cmpd="sng" algn="ctr">
              <a:solidFill>
                <a:sysClr val="windowText" lastClr="000000"/>
              </a:solidFill>
              <a:prstDash val="solid"/>
              <a:miter lim="800000"/>
            </a:ln>
            <a:effectLst/>
          </p:spPr>
        </p:cxnSp>
      </p:grpSp>
      <p:grpSp>
        <p:nvGrpSpPr>
          <p:cNvPr id="109" name="Grupo 159">
            <a:extLst>
              <a:ext uri="{FF2B5EF4-FFF2-40B4-BE49-F238E27FC236}">
                <a16:creationId xmlns:a16="http://schemas.microsoft.com/office/drawing/2014/main" id="{2335C5F8-1E03-6A36-49F5-D3B682D3EE0B}"/>
              </a:ext>
            </a:extLst>
          </p:cNvPr>
          <p:cNvGrpSpPr/>
          <p:nvPr/>
        </p:nvGrpSpPr>
        <p:grpSpPr>
          <a:xfrm>
            <a:off x="7075421" y="1050477"/>
            <a:ext cx="811670" cy="181020"/>
            <a:chOff x="6589640" y="1321115"/>
            <a:chExt cx="555085" cy="181020"/>
          </a:xfrm>
        </p:grpSpPr>
        <p:sp>
          <p:nvSpPr>
            <p:cNvPr id="110" name="Rectángulo 160">
              <a:extLst>
                <a:ext uri="{FF2B5EF4-FFF2-40B4-BE49-F238E27FC236}">
                  <a16:creationId xmlns:a16="http://schemas.microsoft.com/office/drawing/2014/main" id="{464587F9-42A0-F8D8-BE7E-7116E956DC8D}"/>
                </a:ext>
              </a:extLst>
            </p:cNvPr>
            <p:cNvSpPr/>
            <p:nvPr/>
          </p:nvSpPr>
          <p:spPr>
            <a:xfrm>
              <a:off x="65910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JUN</a:t>
              </a:r>
            </a:p>
          </p:txBody>
        </p:sp>
        <p:cxnSp>
          <p:nvCxnSpPr>
            <p:cNvPr id="111" name="Conector recto 161">
              <a:extLst>
                <a:ext uri="{FF2B5EF4-FFF2-40B4-BE49-F238E27FC236}">
                  <a16:creationId xmlns:a16="http://schemas.microsoft.com/office/drawing/2014/main" id="{2128CF66-DF4B-FD33-B29B-DEF707A926B7}"/>
                </a:ext>
              </a:extLst>
            </p:cNvPr>
            <p:cNvCxnSpPr>
              <a:cxnSpLocks/>
            </p:cNvCxnSpPr>
            <p:nvPr/>
          </p:nvCxnSpPr>
          <p:spPr>
            <a:xfrm>
              <a:off x="6589640" y="1502135"/>
              <a:ext cx="555085" cy="0"/>
            </a:xfrm>
            <a:prstGeom prst="line">
              <a:avLst/>
            </a:prstGeom>
            <a:noFill/>
            <a:ln w="12700" cap="flat" cmpd="sng" algn="ctr">
              <a:solidFill>
                <a:sysClr val="windowText" lastClr="000000"/>
              </a:solidFill>
              <a:prstDash val="solid"/>
              <a:miter lim="800000"/>
            </a:ln>
            <a:effectLst/>
          </p:spPr>
        </p:cxnSp>
      </p:grpSp>
      <p:grpSp>
        <p:nvGrpSpPr>
          <p:cNvPr id="112" name="Grupo 162">
            <a:extLst>
              <a:ext uri="{FF2B5EF4-FFF2-40B4-BE49-F238E27FC236}">
                <a16:creationId xmlns:a16="http://schemas.microsoft.com/office/drawing/2014/main" id="{18A69ADF-9A74-C133-793C-9AE58A1693C6}"/>
              </a:ext>
            </a:extLst>
          </p:cNvPr>
          <p:cNvGrpSpPr/>
          <p:nvPr/>
        </p:nvGrpSpPr>
        <p:grpSpPr>
          <a:xfrm>
            <a:off x="9671933" y="1050477"/>
            <a:ext cx="811670" cy="181020"/>
            <a:chOff x="7307190" y="1321115"/>
            <a:chExt cx="555085" cy="181020"/>
          </a:xfrm>
        </p:grpSpPr>
        <p:sp>
          <p:nvSpPr>
            <p:cNvPr id="113" name="Rectángulo 163">
              <a:extLst>
                <a:ext uri="{FF2B5EF4-FFF2-40B4-BE49-F238E27FC236}">
                  <a16:creationId xmlns:a16="http://schemas.microsoft.com/office/drawing/2014/main" id="{502C0F68-830D-6071-89A7-B5B7AB1730E2}"/>
                </a:ext>
              </a:extLst>
            </p:cNvPr>
            <p:cNvSpPr/>
            <p:nvPr/>
          </p:nvSpPr>
          <p:spPr>
            <a:xfrm>
              <a:off x="730860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SEP</a:t>
              </a:r>
            </a:p>
          </p:txBody>
        </p:sp>
        <p:cxnSp>
          <p:nvCxnSpPr>
            <p:cNvPr id="114" name="Conector recto 164">
              <a:extLst>
                <a:ext uri="{FF2B5EF4-FFF2-40B4-BE49-F238E27FC236}">
                  <a16:creationId xmlns:a16="http://schemas.microsoft.com/office/drawing/2014/main" id="{0E67B392-EC79-6EFF-8ED9-747C4C7918A8}"/>
                </a:ext>
              </a:extLst>
            </p:cNvPr>
            <p:cNvCxnSpPr>
              <a:cxnSpLocks/>
            </p:cNvCxnSpPr>
            <p:nvPr/>
          </p:nvCxnSpPr>
          <p:spPr>
            <a:xfrm>
              <a:off x="7307190" y="1502135"/>
              <a:ext cx="555085" cy="0"/>
            </a:xfrm>
            <a:prstGeom prst="line">
              <a:avLst/>
            </a:prstGeom>
            <a:noFill/>
            <a:ln w="12700" cap="flat" cmpd="sng" algn="ctr">
              <a:solidFill>
                <a:sysClr val="windowText" lastClr="000000"/>
              </a:solidFill>
              <a:prstDash val="solid"/>
              <a:miter lim="800000"/>
            </a:ln>
            <a:effectLst/>
          </p:spPr>
        </p:cxnSp>
      </p:grpSp>
      <p:grpSp>
        <p:nvGrpSpPr>
          <p:cNvPr id="115" name="Grupo 165">
            <a:extLst>
              <a:ext uri="{FF2B5EF4-FFF2-40B4-BE49-F238E27FC236}">
                <a16:creationId xmlns:a16="http://schemas.microsoft.com/office/drawing/2014/main" id="{7A0EF039-3D20-DD40-0452-A165C0F333F8}"/>
              </a:ext>
            </a:extLst>
          </p:cNvPr>
          <p:cNvGrpSpPr/>
          <p:nvPr/>
        </p:nvGrpSpPr>
        <p:grpSpPr>
          <a:xfrm>
            <a:off x="10537441" y="1050477"/>
            <a:ext cx="811670" cy="181020"/>
            <a:chOff x="8304140" y="1321115"/>
            <a:chExt cx="555085" cy="181020"/>
          </a:xfrm>
        </p:grpSpPr>
        <p:sp>
          <p:nvSpPr>
            <p:cNvPr id="116" name="Rectángulo 166">
              <a:extLst>
                <a:ext uri="{FF2B5EF4-FFF2-40B4-BE49-F238E27FC236}">
                  <a16:creationId xmlns:a16="http://schemas.microsoft.com/office/drawing/2014/main" id="{B89012D8-CB6E-CFE7-98AA-794CA5F64085}"/>
                </a:ext>
              </a:extLst>
            </p:cNvPr>
            <p:cNvSpPr/>
            <p:nvPr/>
          </p:nvSpPr>
          <p:spPr>
            <a:xfrm>
              <a:off x="83055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OCT</a:t>
              </a:r>
            </a:p>
          </p:txBody>
        </p:sp>
        <p:cxnSp>
          <p:nvCxnSpPr>
            <p:cNvPr id="117" name="Conector recto 167">
              <a:extLst>
                <a:ext uri="{FF2B5EF4-FFF2-40B4-BE49-F238E27FC236}">
                  <a16:creationId xmlns:a16="http://schemas.microsoft.com/office/drawing/2014/main" id="{3FFD28BA-5823-0CD7-0713-6B97B56560C8}"/>
                </a:ext>
              </a:extLst>
            </p:cNvPr>
            <p:cNvCxnSpPr>
              <a:cxnSpLocks/>
            </p:cNvCxnSpPr>
            <p:nvPr/>
          </p:nvCxnSpPr>
          <p:spPr>
            <a:xfrm>
              <a:off x="8304140" y="1502135"/>
              <a:ext cx="555085" cy="0"/>
            </a:xfrm>
            <a:prstGeom prst="line">
              <a:avLst/>
            </a:prstGeom>
            <a:noFill/>
            <a:ln w="12700" cap="flat" cmpd="sng" algn="ctr">
              <a:solidFill>
                <a:sysClr val="windowText" lastClr="000000"/>
              </a:solidFill>
              <a:prstDash val="solid"/>
              <a:miter lim="800000"/>
            </a:ln>
            <a:effectLst/>
          </p:spPr>
        </p:cxnSp>
      </p:grpSp>
      <p:sp>
        <p:nvSpPr>
          <p:cNvPr id="118" name="Rectángulo 171">
            <a:extLst>
              <a:ext uri="{FF2B5EF4-FFF2-40B4-BE49-F238E27FC236}">
                <a16:creationId xmlns:a16="http://schemas.microsoft.com/office/drawing/2014/main" id="{02E59C17-EF1A-59AB-56E1-16047E605BD3}"/>
              </a:ext>
            </a:extLst>
          </p:cNvPr>
          <p:cNvSpPr/>
          <p:nvPr/>
        </p:nvSpPr>
        <p:spPr>
          <a:xfrm>
            <a:off x="501649" y="1292558"/>
            <a:ext cx="852437" cy="2107794"/>
          </a:xfrm>
          <a:prstGeom prst="rect">
            <a:avLst/>
          </a:prstGeom>
          <a:solidFill>
            <a:srgbClr val="0042ED"/>
          </a:solidFill>
          <a:ln w="19050"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rgbClr val="FFFFFF"/>
                </a:solidFill>
                <a:effectLst/>
                <a:uLnTx/>
                <a:uFillTx/>
                <a:latin typeface="Arial Narrow" panose="020B0604020202020204" pitchFamily="34" charset="0"/>
                <a:ea typeface="+mn-ea"/>
                <a:cs typeface="+mn-cs"/>
              </a:rPr>
              <a:t>PROJECT 1</a:t>
            </a:r>
          </a:p>
        </p:txBody>
      </p:sp>
      <p:sp>
        <p:nvSpPr>
          <p:cNvPr id="119" name="Rectángulo 172">
            <a:extLst>
              <a:ext uri="{FF2B5EF4-FFF2-40B4-BE49-F238E27FC236}">
                <a16:creationId xmlns:a16="http://schemas.microsoft.com/office/drawing/2014/main" id="{0DDF8A5C-4E20-7F06-B323-2568CD6C70A8}"/>
              </a:ext>
            </a:extLst>
          </p:cNvPr>
          <p:cNvSpPr/>
          <p:nvPr/>
        </p:nvSpPr>
        <p:spPr>
          <a:xfrm>
            <a:off x="501649" y="3490233"/>
            <a:ext cx="852437" cy="1901440"/>
          </a:xfrm>
          <a:prstGeom prst="rect">
            <a:avLst/>
          </a:prstGeom>
          <a:solidFill>
            <a:srgbClr val="0042ED"/>
          </a:solidFill>
          <a:ln w="19050"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rgbClr val="FFFFFF"/>
                </a:solidFill>
                <a:effectLst/>
                <a:uLnTx/>
                <a:uFillTx/>
                <a:latin typeface="Arial Narrow" panose="020B0604020202020204" pitchFamily="34" charset="0"/>
                <a:ea typeface="+mn-ea"/>
                <a:cs typeface="+mn-cs"/>
              </a:rPr>
              <a:t>PROJECT 2</a:t>
            </a:r>
          </a:p>
        </p:txBody>
      </p:sp>
      <p:sp>
        <p:nvSpPr>
          <p:cNvPr id="120" name="Rectángulo 173">
            <a:extLst>
              <a:ext uri="{FF2B5EF4-FFF2-40B4-BE49-F238E27FC236}">
                <a16:creationId xmlns:a16="http://schemas.microsoft.com/office/drawing/2014/main" id="{EC3D75D1-0F6F-7225-C7ED-330648B66B84}"/>
              </a:ext>
            </a:extLst>
          </p:cNvPr>
          <p:cNvSpPr/>
          <p:nvPr/>
        </p:nvSpPr>
        <p:spPr>
          <a:xfrm>
            <a:off x="1421093" y="1292557"/>
            <a:ext cx="1218468" cy="642676"/>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21" name="Rectángulo 174">
            <a:extLst>
              <a:ext uri="{FF2B5EF4-FFF2-40B4-BE49-F238E27FC236}">
                <a16:creationId xmlns:a16="http://schemas.microsoft.com/office/drawing/2014/main" id="{2CDE406D-4B8A-A53E-009F-5289EB14EA71}"/>
              </a:ext>
            </a:extLst>
          </p:cNvPr>
          <p:cNvSpPr/>
          <p:nvPr/>
        </p:nvSpPr>
        <p:spPr>
          <a:xfrm>
            <a:off x="1421093" y="2025116"/>
            <a:ext cx="1218468" cy="642676"/>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22" name="Rectángulo 175">
            <a:extLst>
              <a:ext uri="{FF2B5EF4-FFF2-40B4-BE49-F238E27FC236}">
                <a16:creationId xmlns:a16="http://schemas.microsoft.com/office/drawing/2014/main" id="{E7357A6B-74FC-7AC5-8A4A-C8EA8379F054}"/>
              </a:ext>
            </a:extLst>
          </p:cNvPr>
          <p:cNvSpPr/>
          <p:nvPr/>
        </p:nvSpPr>
        <p:spPr>
          <a:xfrm>
            <a:off x="1421093" y="2757675"/>
            <a:ext cx="1218468" cy="642676"/>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23" name="Rectángulo 176">
            <a:extLst>
              <a:ext uri="{FF2B5EF4-FFF2-40B4-BE49-F238E27FC236}">
                <a16:creationId xmlns:a16="http://schemas.microsoft.com/office/drawing/2014/main" id="{0694FF63-7109-B2E6-B5EB-712E3D54ED95}"/>
              </a:ext>
            </a:extLst>
          </p:cNvPr>
          <p:cNvSpPr/>
          <p:nvPr/>
        </p:nvSpPr>
        <p:spPr>
          <a:xfrm>
            <a:off x="1421093" y="5481559"/>
            <a:ext cx="1218468" cy="573891"/>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24" name="Rectángulo 177">
            <a:extLst>
              <a:ext uri="{FF2B5EF4-FFF2-40B4-BE49-F238E27FC236}">
                <a16:creationId xmlns:a16="http://schemas.microsoft.com/office/drawing/2014/main" id="{571397E8-D728-8A92-E638-E67EC2B75F2C}"/>
              </a:ext>
            </a:extLst>
          </p:cNvPr>
          <p:cNvSpPr/>
          <p:nvPr/>
        </p:nvSpPr>
        <p:spPr>
          <a:xfrm>
            <a:off x="501649" y="5473234"/>
            <a:ext cx="852437" cy="582216"/>
          </a:xfrm>
          <a:prstGeom prst="rect">
            <a:avLst/>
          </a:prstGeom>
          <a:solidFill>
            <a:srgbClr val="0042ED"/>
          </a:solidFill>
          <a:ln w="19050" cap="flat" cmpd="sng" algn="ctr">
            <a:no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rgbClr val="FFFFFF"/>
                </a:solidFill>
                <a:effectLst/>
                <a:uLnTx/>
                <a:uFillTx/>
                <a:latin typeface="Arial Narrow" panose="020B0604020202020204" pitchFamily="34" charset="0"/>
                <a:ea typeface="+mn-ea"/>
                <a:cs typeface="+mn-cs"/>
              </a:rPr>
              <a:t>PROJECT 3</a:t>
            </a:r>
          </a:p>
        </p:txBody>
      </p:sp>
      <p:sp>
        <p:nvSpPr>
          <p:cNvPr id="125" name="Rectángulo 178">
            <a:extLst>
              <a:ext uri="{FF2B5EF4-FFF2-40B4-BE49-F238E27FC236}">
                <a16:creationId xmlns:a16="http://schemas.microsoft.com/office/drawing/2014/main" id="{57A559BF-BF90-B7CE-5140-0D3DBF7D017D}"/>
              </a:ext>
            </a:extLst>
          </p:cNvPr>
          <p:cNvSpPr/>
          <p:nvPr/>
        </p:nvSpPr>
        <p:spPr>
          <a:xfrm>
            <a:off x="1421093" y="3490234"/>
            <a:ext cx="1218468" cy="573891"/>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26" name="Rectángulo 179">
            <a:extLst>
              <a:ext uri="{FF2B5EF4-FFF2-40B4-BE49-F238E27FC236}">
                <a16:creationId xmlns:a16="http://schemas.microsoft.com/office/drawing/2014/main" id="{B96A6A75-E341-2DAA-C0D1-2E3ACD469A7F}"/>
              </a:ext>
            </a:extLst>
          </p:cNvPr>
          <p:cNvSpPr/>
          <p:nvPr/>
        </p:nvSpPr>
        <p:spPr>
          <a:xfrm>
            <a:off x="1421093" y="4154008"/>
            <a:ext cx="1218468" cy="573891"/>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cxnSp>
        <p:nvCxnSpPr>
          <p:cNvPr id="127" name="Conector recto 180">
            <a:extLst>
              <a:ext uri="{FF2B5EF4-FFF2-40B4-BE49-F238E27FC236}">
                <a16:creationId xmlns:a16="http://schemas.microsoft.com/office/drawing/2014/main" id="{F7D68FA8-2865-93D2-AB07-9F5A9A99C830}"/>
              </a:ext>
            </a:extLst>
          </p:cNvPr>
          <p:cNvCxnSpPr/>
          <p:nvPr/>
        </p:nvCxnSpPr>
        <p:spPr>
          <a:xfrm>
            <a:off x="1421093" y="1980174"/>
            <a:ext cx="9928018" cy="0"/>
          </a:xfrm>
          <a:prstGeom prst="line">
            <a:avLst/>
          </a:prstGeom>
          <a:noFill/>
          <a:ln w="3175" cap="flat" cmpd="sng" algn="ctr">
            <a:solidFill>
              <a:sysClr val="window" lastClr="FFFFFF">
                <a:lumMod val="75000"/>
              </a:sysClr>
            </a:solidFill>
            <a:prstDash val="solid"/>
            <a:miter lim="800000"/>
          </a:ln>
          <a:effectLst/>
        </p:spPr>
      </p:cxnSp>
      <p:cxnSp>
        <p:nvCxnSpPr>
          <p:cNvPr id="128" name="Conector recto 181">
            <a:extLst>
              <a:ext uri="{FF2B5EF4-FFF2-40B4-BE49-F238E27FC236}">
                <a16:creationId xmlns:a16="http://schemas.microsoft.com/office/drawing/2014/main" id="{8286999A-9A61-1233-F94A-22757838676F}"/>
              </a:ext>
            </a:extLst>
          </p:cNvPr>
          <p:cNvCxnSpPr/>
          <p:nvPr/>
        </p:nvCxnSpPr>
        <p:spPr>
          <a:xfrm>
            <a:off x="1421093" y="2712733"/>
            <a:ext cx="9928018" cy="0"/>
          </a:xfrm>
          <a:prstGeom prst="line">
            <a:avLst/>
          </a:prstGeom>
          <a:noFill/>
          <a:ln w="3175" cap="flat" cmpd="sng" algn="ctr">
            <a:solidFill>
              <a:sysClr val="window" lastClr="FFFFFF">
                <a:lumMod val="75000"/>
              </a:sysClr>
            </a:solidFill>
            <a:prstDash val="solid"/>
            <a:miter lim="800000"/>
          </a:ln>
          <a:effectLst/>
        </p:spPr>
      </p:cxnSp>
      <p:cxnSp>
        <p:nvCxnSpPr>
          <p:cNvPr id="129" name="Conector recto 182">
            <a:extLst>
              <a:ext uri="{FF2B5EF4-FFF2-40B4-BE49-F238E27FC236}">
                <a16:creationId xmlns:a16="http://schemas.microsoft.com/office/drawing/2014/main" id="{EA23F957-1C42-2F9C-40F7-3FACEBC3C1C5}"/>
              </a:ext>
            </a:extLst>
          </p:cNvPr>
          <p:cNvCxnSpPr>
            <a:cxnSpLocks/>
          </p:cNvCxnSpPr>
          <p:nvPr/>
        </p:nvCxnSpPr>
        <p:spPr>
          <a:xfrm>
            <a:off x="501649" y="3445292"/>
            <a:ext cx="10780455" cy="0"/>
          </a:xfrm>
          <a:prstGeom prst="line">
            <a:avLst/>
          </a:prstGeom>
          <a:noFill/>
          <a:ln w="3175" cap="flat" cmpd="sng" algn="ctr">
            <a:solidFill>
              <a:sysClr val="window" lastClr="FFFFFF">
                <a:lumMod val="75000"/>
              </a:sysClr>
            </a:solidFill>
            <a:prstDash val="solid"/>
            <a:miter lim="800000"/>
          </a:ln>
          <a:effectLst/>
        </p:spPr>
      </p:cxnSp>
      <p:cxnSp>
        <p:nvCxnSpPr>
          <p:cNvPr id="130" name="Conector recto 183">
            <a:extLst>
              <a:ext uri="{FF2B5EF4-FFF2-40B4-BE49-F238E27FC236}">
                <a16:creationId xmlns:a16="http://schemas.microsoft.com/office/drawing/2014/main" id="{F42158A3-72CD-C7A1-529C-E482E71D1B62}"/>
              </a:ext>
            </a:extLst>
          </p:cNvPr>
          <p:cNvCxnSpPr/>
          <p:nvPr/>
        </p:nvCxnSpPr>
        <p:spPr>
          <a:xfrm>
            <a:off x="1421093" y="4772841"/>
            <a:ext cx="9928018" cy="0"/>
          </a:xfrm>
          <a:prstGeom prst="line">
            <a:avLst/>
          </a:prstGeom>
          <a:noFill/>
          <a:ln w="3175" cap="flat" cmpd="sng" algn="ctr">
            <a:solidFill>
              <a:sysClr val="window" lastClr="FFFFFF">
                <a:lumMod val="75000"/>
              </a:sysClr>
            </a:solidFill>
            <a:prstDash val="solid"/>
            <a:miter lim="800000"/>
          </a:ln>
          <a:effectLst/>
        </p:spPr>
      </p:cxnSp>
      <p:cxnSp>
        <p:nvCxnSpPr>
          <p:cNvPr id="131" name="Conector recto 184">
            <a:extLst>
              <a:ext uri="{FF2B5EF4-FFF2-40B4-BE49-F238E27FC236}">
                <a16:creationId xmlns:a16="http://schemas.microsoft.com/office/drawing/2014/main" id="{5ABDF5CD-FC5E-6731-8CE2-C8667FBA7649}"/>
              </a:ext>
            </a:extLst>
          </p:cNvPr>
          <p:cNvCxnSpPr>
            <a:cxnSpLocks/>
          </p:cNvCxnSpPr>
          <p:nvPr/>
        </p:nvCxnSpPr>
        <p:spPr>
          <a:xfrm>
            <a:off x="501649" y="5436616"/>
            <a:ext cx="10780455" cy="0"/>
          </a:xfrm>
          <a:prstGeom prst="line">
            <a:avLst/>
          </a:prstGeom>
          <a:noFill/>
          <a:ln w="3175" cap="flat" cmpd="sng" algn="ctr">
            <a:solidFill>
              <a:sysClr val="window" lastClr="FFFFFF">
                <a:lumMod val="75000"/>
              </a:sysClr>
            </a:solidFill>
            <a:prstDash val="solid"/>
            <a:miter lim="800000"/>
          </a:ln>
          <a:effectLst/>
        </p:spPr>
      </p:cxnSp>
      <p:cxnSp>
        <p:nvCxnSpPr>
          <p:cNvPr id="132" name="Conector recto 185">
            <a:extLst>
              <a:ext uri="{FF2B5EF4-FFF2-40B4-BE49-F238E27FC236}">
                <a16:creationId xmlns:a16="http://schemas.microsoft.com/office/drawing/2014/main" id="{D57E6038-C54A-4956-6D53-D43B76895B90}"/>
              </a:ext>
            </a:extLst>
          </p:cNvPr>
          <p:cNvCxnSpPr>
            <a:cxnSpLocks/>
          </p:cNvCxnSpPr>
          <p:nvPr/>
        </p:nvCxnSpPr>
        <p:spPr>
          <a:xfrm>
            <a:off x="501649" y="6081885"/>
            <a:ext cx="10780455" cy="0"/>
          </a:xfrm>
          <a:prstGeom prst="line">
            <a:avLst/>
          </a:prstGeom>
          <a:noFill/>
          <a:ln w="3175" cap="flat" cmpd="sng" algn="ctr">
            <a:solidFill>
              <a:sysClr val="window" lastClr="FFFFFF">
                <a:lumMod val="75000"/>
              </a:sysClr>
            </a:solidFill>
            <a:prstDash val="solid"/>
            <a:miter lim="800000"/>
          </a:ln>
          <a:effectLst/>
        </p:spPr>
      </p:cxnSp>
      <p:grpSp>
        <p:nvGrpSpPr>
          <p:cNvPr id="135" name="Grupo 188">
            <a:extLst>
              <a:ext uri="{FF2B5EF4-FFF2-40B4-BE49-F238E27FC236}">
                <a16:creationId xmlns:a16="http://schemas.microsoft.com/office/drawing/2014/main" id="{3BFBCAE0-88A9-9839-D80F-3616F7C36222}"/>
              </a:ext>
            </a:extLst>
          </p:cNvPr>
          <p:cNvGrpSpPr/>
          <p:nvPr/>
        </p:nvGrpSpPr>
        <p:grpSpPr>
          <a:xfrm>
            <a:off x="7940925" y="1050477"/>
            <a:ext cx="811670" cy="181020"/>
            <a:chOff x="6589640" y="1321115"/>
            <a:chExt cx="555085" cy="181020"/>
          </a:xfrm>
        </p:grpSpPr>
        <p:sp>
          <p:nvSpPr>
            <p:cNvPr id="136" name="Rectángulo 189">
              <a:extLst>
                <a:ext uri="{FF2B5EF4-FFF2-40B4-BE49-F238E27FC236}">
                  <a16:creationId xmlns:a16="http://schemas.microsoft.com/office/drawing/2014/main" id="{A2FE7D3B-BDEB-A791-D559-023A9AA2D5E7}"/>
                </a:ext>
              </a:extLst>
            </p:cNvPr>
            <p:cNvSpPr/>
            <p:nvPr/>
          </p:nvSpPr>
          <p:spPr>
            <a:xfrm>
              <a:off x="65910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JUL</a:t>
              </a:r>
            </a:p>
          </p:txBody>
        </p:sp>
        <p:cxnSp>
          <p:nvCxnSpPr>
            <p:cNvPr id="137" name="Conector recto 190">
              <a:extLst>
                <a:ext uri="{FF2B5EF4-FFF2-40B4-BE49-F238E27FC236}">
                  <a16:creationId xmlns:a16="http://schemas.microsoft.com/office/drawing/2014/main" id="{B56E1508-153D-4E66-51E1-79265D17E718}"/>
                </a:ext>
              </a:extLst>
            </p:cNvPr>
            <p:cNvCxnSpPr>
              <a:cxnSpLocks/>
            </p:cNvCxnSpPr>
            <p:nvPr/>
          </p:nvCxnSpPr>
          <p:spPr>
            <a:xfrm>
              <a:off x="6589640" y="1502135"/>
              <a:ext cx="555085" cy="0"/>
            </a:xfrm>
            <a:prstGeom prst="line">
              <a:avLst/>
            </a:prstGeom>
            <a:noFill/>
            <a:ln w="12700" cap="flat" cmpd="sng" algn="ctr">
              <a:solidFill>
                <a:sysClr val="windowText" lastClr="000000"/>
              </a:solidFill>
              <a:prstDash val="solid"/>
              <a:miter lim="800000"/>
            </a:ln>
            <a:effectLst/>
          </p:spPr>
        </p:cxnSp>
      </p:grpSp>
      <p:grpSp>
        <p:nvGrpSpPr>
          <p:cNvPr id="138" name="Grupo 191">
            <a:extLst>
              <a:ext uri="{FF2B5EF4-FFF2-40B4-BE49-F238E27FC236}">
                <a16:creationId xmlns:a16="http://schemas.microsoft.com/office/drawing/2014/main" id="{4CA78672-C61E-E032-A3DA-78250CC79162}"/>
              </a:ext>
            </a:extLst>
          </p:cNvPr>
          <p:cNvGrpSpPr/>
          <p:nvPr/>
        </p:nvGrpSpPr>
        <p:grpSpPr>
          <a:xfrm>
            <a:off x="8806429" y="1050477"/>
            <a:ext cx="811670" cy="181020"/>
            <a:chOff x="6589640" y="1321115"/>
            <a:chExt cx="555085" cy="181020"/>
          </a:xfrm>
        </p:grpSpPr>
        <p:sp>
          <p:nvSpPr>
            <p:cNvPr id="139" name="Rectángulo 192">
              <a:extLst>
                <a:ext uri="{FF2B5EF4-FFF2-40B4-BE49-F238E27FC236}">
                  <a16:creationId xmlns:a16="http://schemas.microsoft.com/office/drawing/2014/main" id="{945E2E47-A9C2-0144-865A-34AAD7B84309}"/>
                </a:ext>
              </a:extLst>
            </p:cNvPr>
            <p:cNvSpPr/>
            <p:nvPr/>
          </p:nvSpPr>
          <p:spPr>
            <a:xfrm>
              <a:off x="6591052" y="1321115"/>
              <a:ext cx="553673" cy="153909"/>
            </a:xfrm>
            <a:prstGeom prst="rect">
              <a:avLst/>
            </a:prstGeom>
            <a:noFill/>
            <a:ln w="1905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u="none" strike="noStrike" kern="0" cap="none" spc="0" normalizeH="0" baseline="0" noProof="0">
                  <a:ln>
                    <a:noFill/>
                  </a:ln>
                  <a:solidFill>
                    <a:prstClr val="black"/>
                  </a:solidFill>
                  <a:effectLst/>
                  <a:uLnTx/>
                  <a:uFillTx/>
                  <a:latin typeface="Arial Narrow" panose="020B0604020202020204" pitchFamily="34" charset="0"/>
                  <a:ea typeface="+mn-ea"/>
                  <a:cs typeface="+mn-cs"/>
                </a:rPr>
                <a:t>AUG</a:t>
              </a:r>
            </a:p>
          </p:txBody>
        </p:sp>
        <p:cxnSp>
          <p:nvCxnSpPr>
            <p:cNvPr id="140" name="Conector recto 193">
              <a:extLst>
                <a:ext uri="{FF2B5EF4-FFF2-40B4-BE49-F238E27FC236}">
                  <a16:creationId xmlns:a16="http://schemas.microsoft.com/office/drawing/2014/main" id="{7C9321FD-89EB-F5B5-730D-F6BA09765213}"/>
                </a:ext>
              </a:extLst>
            </p:cNvPr>
            <p:cNvCxnSpPr>
              <a:cxnSpLocks/>
            </p:cNvCxnSpPr>
            <p:nvPr/>
          </p:nvCxnSpPr>
          <p:spPr>
            <a:xfrm>
              <a:off x="6589640" y="1502135"/>
              <a:ext cx="555085" cy="0"/>
            </a:xfrm>
            <a:prstGeom prst="line">
              <a:avLst/>
            </a:prstGeom>
            <a:noFill/>
            <a:ln w="12700" cap="flat" cmpd="sng" algn="ctr">
              <a:solidFill>
                <a:sysClr val="windowText" lastClr="000000"/>
              </a:solidFill>
              <a:prstDash val="solid"/>
              <a:miter lim="800000"/>
            </a:ln>
            <a:effectLst/>
          </p:spPr>
        </p:cxnSp>
      </p:grpSp>
      <p:sp>
        <p:nvSpPr>
          <p:cNvPr id="145" name="Triángulo isósceles 198">
            <a:extLst>
              <a:ext uri="{FF2B5EF4-FFF2-40B4-BE49-F238E27FC236}">
                <a16:creationId xmlns:a16="http://schemas.microsoft.com/office/drawing/2014/main" id="{96DB507F-B7AF-A16B-F593-CC4F41CAF0FE}"/>
              </a:ext>
            </a:extLst>
          </p:cNvPr>
          <p:cNvSpPr/>
          <p:nvPr/>
        </p:nvSpPr>
        <p:spPr>
          <a:xfrm>
            <a:off x="8870502" y="2019352"/>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6" name="Rectángulo 199">
            <a:extLst>
              <a:ext uri="{FF2B5EF4-FFF2-40B4-BE49-F238E27FC236}">
                <a16:creationId xmlns:a16="http://schemas.microsoft.com/office/drawing/2014/main" id="{E0BFEC8F-6485-F44D-6CA3-C7DB1F3DD081}"/>
              </a:ext>
            </a:extLst>
          </p:cNvPr>
          <p:cNvSpPr/>
          <p:nvPr/>
        </p:nvSpPr>
        <p:spPr>
          <a:xfrm>
            <a:off x="8428110" y="2161132"/>
            <a:ext cx="1025018" cy="153909"/>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49" name="Triángulo isósceles 202">
            <a:extLst>
              <a:ext uri="{FF2B5EF4-FFF2-40B4-BE49-F238E27FC236}">
                <a16:creationId xmlns:a16="http://schemas.microsoft.com/office/drawing/2014/main" id="{208C80D1-5F82-D5EA-7551-69782BD287BD}"/>
              </a:ext>
            </a:extLst>
          </p:cNvPr>
          <p:cNvSpPr/>
          <p:nvPr/>
        </p:nvSpPr>
        <p:spPr>
          <a:xfrm>
            <a:off x="3041613"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0" name="Rectángulo 203">
            <a:extLst>
              <a:ext uri="{FF2B5EF4-FFF2-40B4-BE49-F238E27FC236}">
                <a16:creationId xmlns:a16="http://schemas.microsoft.com/office/drawing/2014/main" id="{BA1DB1B8-7F45-098E-0598-708529EA0CB2}"/>
              </a:ext>
            </a:extLst>
          </p:cNvPr>
          <p:cNvSpPr/>
          <p:nvPr/>
        </p:nvSpPr>
        <p:spPr>
          <a:xfrm>
            <a:off x="2896387" y="2934944"/>
            <a:ext cx="514697" cy="510347"/>
          </a:xfrm>
          <a:prstGeom prst="rect">
            <a:avLst/>
          </a:prstGeom>
          <a:noFill/>
          <a:ln w="1905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51" name="Triángulo isósceles 204">
            <a:extLst>
              <a:ext uri="{FF2B5EF4-FFF2-40B4-BE49-F238E27FC236}">
                <a16:creationId xmlns:a16="http://schemas.microsoft.com/office/drawing/2014/main" id="{1E878BB7-AAC3-D18E-F40D-90F39CA47B2A}"/>
              </a:ext>
            </a:extLst>
          </p:cNvPr>
          <p:cNvSpPr/>
          <p:nvPr/>
        </p:nvSpPr>
        <p:spPr>
          <a:xfrm>
            <a:off x="10306913"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2" name="Triángulo isósceles 206">
            <a:extLst>
              <a:ext uri="{FF2B5EF4-FFF2-40B4-BE49-F238E27FC236}">
                <a16:creationId xmlns:a16="http://schemas.microsoft.com/office/drawing/2014/main" id="{39CDBA21-B5A3-58D8-070C-2BCE61EA51D7}"/>
              </a:ext>
            </a:extLst>
          </p:cNvPr>
          <p:cNvSpPr/>
          <p:nvPr/>
        </p:nvSpPr>
        <p:spPr>
          <a:xfrm>
            <a:off x="11210824"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 name="Triángulo isósceles 208">
            <a:extLst>
              <a:ext uri="{FF2B5EF4-FFF2-40B4-BE49-F238E27FC236}">
                <a16:creationId xmlns:a16="http://schemas.microsoft.com/office/drawing/2014/main" id="{44D966C9-6981-FCEB-9732-961021799398}"/>
              </a:ext>
            </a:extLst>
          </p:cNvPr>
          <p:cNvSpPr/>
          <p:nvPr/>
        </p:nvSpPr>
        <p:spPr>
          <a:xfrm>
            <a:off x="8207472"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4" name="Rectángulo 209">
            <a:extLst>
              <a:ext uri="{FF2B5EF4-FFF2-40B4-BE49-F238E27FC236}">
                <a16:creationId xmlns:a16="http://schemas.microsoft.com/office/drawing/2014/main" id="{C8CE24FC-5CDE-BAF8-5E27-C34CB820D8E4}"/>
              </a:ext>
            </a:extLst>
          </p:cNvPr>
          <p:cNvSpPr/>
          <p:nvPr/>
        </p:nvSpPr>
        <p:spPr>
          <a:xfrm>
            <a:off x="7535255" y="2910392"/>
            <a:ext cx="1453198"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55" name="Triángulo isósceles 210">
            <a:extLst>
              <a:ext uri="{FF2B5EF4-FFF2-40B4-BE49-F238E27FC236}">
                <a16:creationId xmlns:a16="http://schemas.microsoft.com/office/drawing/2014/main" id="{418EAE8D-6AA2-D6F1-F203-35FFF0DBDEFA}"/>
              </a:ext>
            </a:extLst>
          </p:cNvPr>
          <p:cNvSpPr/>
          <p:nvPr/>
        </p:nvSpPr>
        <p:spPr>
          <a:xfrm>
            <a:off x="6698750"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6" name="Rectángulo 211">
            <a:extLst>
              <a:ext uri="{FF2B5EF4-FFF2-40B4-BE49-F238E27FC236}">
                <a16:creationId xmlns:a16="http://schemas.microsoft.com/office/drawing/2014/main" id="{9EBE763C-CE53-9F4D-E0BE-BB28B3F178D8}"/>
              </a:ext>
            </a:extLst>
          </p:cNvPr>
          <p:cNvSpPr/>
          <p:nvPr/>
        </p:nvSpPr>
        <p:spPr>
          <a:xfrm>
            <a:off x="6168496" y="2907054"/>
            <a:ext cx="1185459" cy="303020"/>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57" name="Triángulo isósceles 212">
            <a:extLst>
              <a:ext uri="{FF2B5EF4-FFF2-40B4-BE49-F238E27FC236}">
                <a16:creationId xmlns:a16="http://schemas.microsoft.com/office/drawing/2014/main" id="{E95E5D0F-0084-E576-F304-1322FB5611D2}"/>
              </a:ext>
            </a:extLst>
          </p:cNvPr>
          <p:cNvSpPr/>
          <p:nvPr/>
        </p:nvSpPr>
        <p:spPr>
          <a:xfrm>
            <a:off x="9799926" y="278040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8" name="Rectángulo 213">
            <a:extLst>
              <a:ext uri="{FF2B5EF4-FFF2-40B4-BE49-F238E27FC236}">
                <a16:creationId xmlns:a16="http://schemas.microsoft.com/office/drawing/2014/main" id="{43ACE4BC-9BCB-7454-8EC7-6AD16DAAD133}"/>
              </a:ext>
            </a:extLst>
          </p:cNvPr>
          <p:cNvSpPr/>
          <p:nvPr/>
        </p:nvSpPr>
        <p:spPr>
          <a:xfrm>
            <a:off x="9260049" y="2913606"/>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59" name="Triángulo isósceles 214">
            <a:extLst>
              <a:ext uri="{FF2B5EF4-FFF2-40B4-BE49-F238E27FC236}">
                <a16:creationId xmlns:a16="http://schemas.microsoft.com/office/drawing/2014/main" id="{7F8F6979-6B0C-FB47-3222-1B762A58DC1C}"/>
              </a:ext>
            </a:extLst>
          </p:cNvPr>
          <p:cNvSpPr/>
          <p:nvPr/>
        </p:nvSpPr>
        <p:spPr>
          <a:xfrm>
            <a:off x="6698750" y="5487494"/>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0" name="Rectángulo 216">
            <a:extLst>
              <a:ext uri="{FF2B5EF4-FFF2-40B4-BE49-F238E27FC236}">
                <a16:creationId xmlns:a16="http://schemas.microsoft.com/office/drawing/2014/main" id="{E32A50FF-9F60-2415-0B1B-2F803549DCCE}"/>
              </a:ext>
            </a:extLst>
          </p:cNvPr>
          <p:cNvSpPr/>
          <p:nvPr/>
        </p:nvSpPr>
        <p:spPr>
          <a:xfrm>
            <a:off x="1421093" y="4817782"/>
            <a:ext cx="1218468" cy="573891"/>
          </a:xfrm>
          <a:prstGeom prst="rect">
            <a:avLst/>
          </a:prstGeom>
          <a:solidFill>
            <a:sysClr val="window" lastClr="FFFFFF">
              <a:alpha val="8000"/>
            </a:sysClr>
          </a:solidFill>
          <a:ln w="3175"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cxnSp>
        <p:nvCxnSpPr>
          <p:cNvPr id="161" name="Conector recto 217">
            <a:extLst>
              <a:ext uri="{FF2B5EF4-FFF2-40B4-BE49-F238E27FC236}">
                <a16:creationId xmlns:a16="http://schemas.microsoft.com/office/drawing/2014/main" id="{0D3395B8-7CFE-96C0-9629-E5E46EF7EFC1}"/>
              </a:ext>
            </a:extLst>
          </p:cNvPr>
          <p:cNvCxnSpPr/>
          <p:nvPr/>
        </p:nvCxnSpPr>
        <p:spPr>
          <a:xfrm>
            <a:off x="1421093" y="4109066"/>
            <a:ext cx="9928018" cy="0"/>
          </a:xfrm>
          <a:prstGeom prst="line">
            <a:avLst/>
          </a:prstGeom>
          <a:noFill/>
          <a:ln w="3175" cap="flat" cmpd="sng" algn="ctr">
            <a:solidFill>
              <a:sysClr val="window" lastClr="FFFFFF">
                <a:lumMod val="75000"/>
              </a:sysClr>
            </a:solidFill>
            <a:prstDash val="solid"/>
            <a:miter lim="800000"/>
          </a:ln>
          <a:effectLst/>
        </p:spPr>
      </p:cxnSp>
      <p:sp>
        <p:nvSpPr>
          <p:cNvPr id="162" name="Triángulo isósceles 218">
            <a:extLst>
              <a:ext uri="{FF2B5EF4-FFF2-40B4-BE49-F238E27FC236}">
                <a16:creationId xmlns:a16="http://schemas.microsoft.com/office/drawing/2014/main" id="{D27AF541-C88D-C488-9F5B-CDE50E534382}"/>
              </a:ext>
            </a:extLst>
          </p:cNvPr>
          <p:cNvSpPr/>
          <p:nvPr/>
        </p:nvSpPr>
        <p:spPr>
          <a:xfrm>
            <a:off x="5686436" y="3547322"/>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3" name="Triángulo isósceles 220">
            <a:extLst>
              <a:ext uri="{FF2B5EF4-FFF2-40B4-BE49-F238E27FC236}">
                <a16:creationId xmlns:a16="http://schemas.microsoft.com/office/drawing/2014/main" id="{68E7239D-F455-1FD0-92AD-05A55EEDE3BE}"/>
              </a:ext>
            </a:extLst>
          </p:cNvPr>
          <p:cNvSpPr/>
          <p:nvPr/>
        </p:nvSpPr>
        <p:spPr>
          <a:xfrm>
            <a:off x="10929314" y="3547322"/>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4" name="Triángulo isósceles 222">
            <a:extLst>
              <a:ext uri="{FF2B5EF4-FFF2-40B4-BE49-F238E27FC236}">
                <a16:creationId xmlns:a16="http://schemas.microsoft.com/office/drawing/2014/main" id="{B7BB0BC4-4D89-C845-F1B8-984D1D7F9145}"/>
              </a:ext>
            </a:extLst>
          </p:cNvPr>
          <p:cNvSpPr/>
          <p:nvPr/>
        </p:nvSpPr>
        <p:spPr>
          <a:xfrm>
            <a:off x="10929314" y="4204426"/>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5" name="Triángulo isósceles 224">
            <a:extLst>
              <a:ext uri="{FF2B5EF4-FFF2-40B4-BE49-F238E27FC236}">
                <a16:creationId xmlns:a16="http://schemas.microsoft.com/office/drawing/2014/main" id="{185B7CB2-CFBB-BA47-4C22-C092DD9A9677}"/>
              </a:ext>
            </a:extLst>
          </p:cNvPr>
          <p:cNvSpPr/>
          <p:nvPr/>
        </p:nvSpPr>
        <p:spPr>
          <a:xfrm>
            <a:off x="10929314" y="4871833"/>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6" name="Rectángulo 213">
            <a:extLst>
              <a:ext uri="{FF2B5EF4-FFF2-40B4-BE49-F238E27FC236}">
                <a16:creationId xmlns:a16="http://schemas.microsoft.com/office/drawing/2014/main" id="{324887F0-B8B2-39F2-D203-2D37A724D923}"/>
              </a:ext>
            </a:extLst>
          </p:cNvPr>
          <p:cNvSpPr/>
          <p:nvPr/>
        </p:nvSpPr>
        <p:spPr>
          <a:xfrm>
            <a:off x="9760326" y="2916604"/>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67" name="Rectángulo 213">
            <a:extLst>
              <a:ext uri="{FF2B5EF4-FFF2-40B4-BE49-F238E27FC236}">
                <a16:creationId xmlns:a16="http://schemas.microsoft.com/office/drawing/2014/main" id="{89C3B7B5-6F57-D032-63A5-F753191CB8AC}"/>
              </a:ext>
            </a:extLst>
          </p:cNvPr>
          <p:cNvSpPr/>
          <p:nvPr/>
        </p:nvSpPr>
        <p:spPr>
          <a:xfrm>
            <a:off x="10653525" y="2922856"/>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68" name="Rectángulo 211">
            <a:extLst>
              <a:ext uri="{FF2B5EF4-FFF2-40B4-BE49-F238E27FC236}">
                <a16:creationId xmlns:a16="http://schemas.microsoft.com/office/drawing/2014/main" id="{2AD74C94-9F45-2528-096A-09E3EA4AC1D6}"/>
              </a:ext>
            </a:extLst>
          </p:cNvPr>
          <p:cNvSpPr/>
          <p:nvPr/>
        </p:nvSpPr>
        <p:spPr>
          <a:xfrm>
            <a:off x="5172297" y="3707055"/>
            <a:ext cx="1185459" cy="303020"/>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69" name="Rectángulo 213">
            <a:extLst>
              <a:ext uri="{FF2B5EF4-FFF2-40B4-BE49-F238E27FC236}">
                <a16:creationId xmlns:a16="http://schemas.microsoft.com/office/drawing/2014/main" id="{9632E94B-6578-084C-D0AB-4634F8AD8094}"/>
              </a:ext>
            </a:extLst>
          </p:cNvPr>
          <p:cNvSpPr/>
          <p:nvPr/>
        </p:nvSpPr>
        <p:spPr>
          <a:xfrm>
            <a:off x="10380339" y="3689774"/>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70" name="Rectángulo 213">
            <a:extLst>
              <a:ext uri="{FF2B5EF4-FFF2-40B4-BE49-F238E27FC236}">
                <a16:creationId xmlns:a16="http://schemas.microsoft.com/office/drawing/2014/main" id="{D24ACE30-7419-EB31-E336-136A69F6E896}"/>
              </a:ext>
            </a:extLst>
          </p:cNvPr>
          <p:cNvSpPr/>
          <p:nvPr/>
        </p:nvSpPr>
        <p:spPr>
          <a:xfrm>
            <a:off x="10380339" y="4338386"/>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71" name="Rectángulo 213">
            <a:extLst>
              <a:ext uri="{FF2B5EF4-FFF2-40B4-BE49-F238E27FC236}">
                <a16:creationId xmlns:a16="http://schemas.microsoft.com/office/drawing/2014/main" id="{203F9504-4299-E45C-67EE-FCD35BA1C2C1}"/>
              </a:ext>
            </a:extLst>
          </p:cNvPr>
          <p:cNvSpPr/>
          <p:nvPr/>
        </p:nvSpPr>
        <p:spPr>
          <a:xfrm>
            <a:off x="10380339" y="5003221"/>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72" name="Rectángulo 213">
            <a:extLst>
              <a:ext uri="{FF2B5EF4-FFF2-40B4-BE49-F238E27FC236}">
                <a16:creationId xmlns:a16="http://schemas.microsoft.com/office/drawing/2014/main" id="{607B7548-5247-1BEC-5E79-65B02CE1E043}"/>
              </a:ext>
            </a:extLst>
          </p:cNvPr>
          <p:cNvSpPr/>
          <p:nvPr/>
        </p:nvSpPr>
        <p:spPr>
          <a:xfrm>
            <a:off x="6156083" y="5648080"/>
            <a:ext cx="1225560" cy="232523"/>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76" name="Triángulo isósceles 198">
            <a:extLst>
              <a:ext uri="{FF2B5EF4-FFF2-40B4-BE49-F238E27FC236}">
                <a16:creationId xmlns:a16="http://schemas.microsoft.com/office/drawing/2014/main" id="{96DB507F-B7AF-A16B-F593-CC4F41CAF0FE}"/>
              </a:ext>
            </a:extLst>
          </p:cNvPr>
          <p:cNvSpPr/>
          <p:nvPr/>
        </p:nvSpPr>
        <p:spPr>
          <a:xfrm>
            <a:off x="9690209" y="2019352"/>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7" name="Rectángulo 199">
            <a:extLst>
              <a:ext uri="{FF2B5EF4-FFF2-40B4-BE49-F238E27FC236}">
                <a16:creationId xmlns:a16="http://schemas.microsoft.com/office/drawing/2014/main" id="{E0BFEC8F-6485-F44D-6CA3-C7DB1F3DD081}"/>
              </a:ext>
            </a:extLst>
          </p:cNvPr>
          <p:cNvSpPr/>
          <p:nvPr/>
        </p:nvSpPr>
        <p:spPr>
          <a:xfrm>
            <a:off x="9247817" y="2161132"/>
            <a:ext cx="1025018" cy="153909"/>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78" name="Triángulo isósceles 198">
            <a:extLst>
              <a:ext uri="{FF2B5EF4-FFF2-40B4-BE49-F238E27FC236}">
                <a16:creationId xmlns:a16="http://schemas.microsoft.com/office/drawing/2014/main" id="{96DB507F-B7AF-A16B-F593-CC4F41CAF0FE}"/>
              </a:ext>
            </a:extLst>
          </p:cNvPr>
          <p:cNvSpPr/>
          <p:nvPr/>
        </p:nvSpPr>
        <p:spPr>
          <a:xfrm>
            <a:off x="5436734" y="1293060"/>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9" name="Rectángulo 199">
            <a:extLst>
              <a:ext uri="{FF2B5EF4-FFF2-40B4-BE49-F238E27FC236}">
                <a16:creationId xmlns:a16="http://schemas.microsoft.com/office/drawing/2014/main" id="{E0BFEC8F-6485-F44D-6CA3-C7DB1F3DD081}"/>
              </a:ext>
            </a:extLst>
          </p:cNvPr>
          <p:cNvSpPr/>
          <p:nvPr/>
        </p:nvSpPr>
        <p:spPr>
          <a:xfrm>
            <a:off x="4994342" y="1434840"/>
            <a:ext cx="1025018" cy="153909"/>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80" name="Triángulo isósceles 198">
            <a:extLst>
              <a:ext uri="{FF2B5EF4-FFF2-40B4-BE49-F238E27FC236}">
                <a16:creationId xmlns:a16="http://schemas.microsoft.com/office/drawing/2014/main" id="{96DB507F-B7AF-A16B-F593-CC4F41CAF0FE}"/>
              </a:ext>
            </a:extLst>
          </p:cNvPr>
          <p:cNvSpPr/>
          <p:nvPr/>
        </p:nvSpPr>
        <p:spPr>
          <a:xfrm>
            <a:off x="7125536" y="1293060"/>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1" name="Rectángulo 199">
            <a:extLst>
              <a:ext uri="{FF2B5EF4-FFF2-40B4-BE49-F238E27FC236}">
                <a16:creationId xmlns:a16="http://schemas.microsoft.com/office/drawing/2014/main" id="{E0BFEC8F-6485-F44D-6CA3-C7DB1F3DD081}"/>
              </a:ext>
            </a:extLst>
          </p:cNvPr>
          <p:cNvSpPr/>
          <p:nvPr/>
        </p:nvSpPr>
        <p:spPr>
          <a:xfrm>
            <a:off x="6683144" y="1434840"/>
            <a:ext cx="1025018" cy="153909"/>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
        <p:nvSpPr>
          <p:cNvPr id="182" name="Triángulo isósceles 198">
            <a:extLst>
              <a:ext uri="{FF2B5EF4-FFF2-40B4-BE49-F238E27FC236}">
                <a16:creationId xmlns:a16="http://schemas.microsoft.com/office/drawing/2014/main" id="{96DB507F-B7AF-A16B-F593-CC4F41CAF0FE}"/>
              </a:ext>
            </a:extLst>
          </p:cNvPr>
          <p:cNvSpPr/>
          <p:nvPr/>
        </p:nvSpPr>
        <p:spPr>
          <a:xfrm>
            <a:off x="9690209" y="1286793"/>
            <a:ext cx="140234" cy="121575"/>
          </a:xfrm>
          <a:prstGeom prst="triangl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Rectángulo 199">
            <a:extLst>
              <a:ext uri="{FF2B5EF4-FFF2-40B4-BE49-F238E27FC236}">
                <a16:creationId xmlns:a16="http://schemas.microsoft.com/office/drawing/2014/main" id="{E0BFEC8F-6485-F44D-6CA3-C7DB1F3DD081}"/>
              </a:ext>
            </a:extLst>
          </p:cNvPr>
          <p:cNvSpPr/>
          <p:nvPr/>
        </p:nvSpPr>
        <p:spPr>
          <a:xfrm>
            <a:off x="9247817" y="1428573"/>
            <a:ext cx="1025018" cy="153909"/>
          </a:xfrm>
          <a:prstGeom prst="rect">
            <a:avLst/>
          </a:prstGeom>
          <a:noFill/>
          <a:ln w="190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xt</a:t>
            </a:r>
          </a:p>
        </p:txBody>
      </p:sp>
    </p:spTree>
    <p:extLst>
      <p:ext uri="{BB962C8B-B14F-4D97-AF65-F5344CB8AC3E}">
        <p14:creationId xmlns:p14="http://schemas.microsoft.com/office/powerpoint/2010/main" val="36013558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2D007-D57A-5088-7536-5E04C990152F}"/>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892B5217-8E3B-D5C9-CF81-8EA461A12374}"/>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AF1639E9-462B-5E29-952C-A408FD1C490A}"/>
              </a:ext>
            </a:extLst>
          </p:cNvPr>
          <p:cNvSpPr>
            <a:spLocks noGrp="1"/>
          </p:cNvSpPr>
          <p:nvPr>
            <p:ph type="sldNum" sz="quarter" idx="12"/>
          </p:nvPr>
        </p:nvSpPr>
        <p:spPr/>
        <p:txBody>
          <a:bodyPr/>
          <a:lstStyle/>
          <a:p>
            <a:fld id="{FF2CED2D-DE01-CB40-AEF5-C9DD7CD06225}" type="slidenum">
              <a:rPr lang="es-ES" smtClean="0"/>
              <a:pPr/>
              <a:t>55</a:t>
            </a:fld>
            <a:endParaRPr lang="es-ES"/>
          </a:p>
        </p:txBody>
      </p:sp>
      <p:sp>
        <p:nvSpPr>
          <p:cNvPr id="6" name="Marcador de texto 5">
            <a:extLst>
              <a:ext uri="{FF2B5EF4-FFF2-40B4-BE49-F238E27FC236}">
                <a16:creationId xmlns:a16="http://schemas.microsoft.com/office/drawing/2014/main" id="{469F9558-D651-1F9E-EEBE-6239E46F6716}"/>
              </a:ext>
            </a:extLst>
          </p:cNvPr>
          <p:cNvSpPr>
            <a:spLocks noGrp="1"/>
          </p:cNvSpPr>
          <p:nvPr>
            <p:ph type="body" sz="quarter" idx="15"/>
          </p:nvPr>
        </p:nvSpPr>
        <p:spPr/>
        <p:txBody>
          <a:bodyPr/>
          <a:lstStyle/>
          <a:p>
            <a:endParaRPr lang="en-GB"/>
          </a:p>
        </p:txBody>
      </p:sp>
      <p:graphicFrame>
        <p:nvGraphicFramePr>
          <p:cNvPr id="4" name="Tabla 3">
            <a:extLst>
              <a:ext uri="{FF2B5EF4-FFF2-40B4-BE49-F238E27FC236}">
                <a16:creationId xmlns:a16="http://schemas.microsoft.com/office/drawing/2014/main" id="{9CCCDF1B-C2A7-D69B-0C9A-FBD477603B72}"/>
              </a:ext>
            </a:extLst>
          </p:cNvPr>
          <p:cNvGraphicFramePr>
            <a:graphicFrameLocks noGrp="1"/>
          </p:cNvGraphicFramePr>
          <p:nvPr>
            <p:extLst>
              <p:ext uri="{D42A27DB-BD31-4B8C-83A1-F6EECF244321}">
                <p14:modId xmlns:p14="http://schemas.microsoft.com/office/powerpoint/2010/main" val="3909471895"/>
              </p:ext>
            </p:extLst>
          </p:nvPr>
        </p:nvGraphicFramePr>
        <p:xfrm>
          <a:off x="575128" y="1552925"/>
          <a:ext cx="9638394" cy="3294972"/>
        </p:xfrm>
        <a:graphic>
          <a:graphicData uri="http://schemas.openxmlformats.org/drawingml/2006/table">
            <a:tbl>
              <a:tblPr firstRow="1" bandRow="1"/>
              <a:tblGrid>
                <a:gridCol w="2988997">
                  <a:extLst>
                    <a:ext uri="{9D8B030D-6E8A-4147-A177-3AD203B41FA5}">
                      <a16:colId xmlns:a16="http://schemas.microsoft.com/office/drawing/2014/main" val="1569944113"/>
                    </a:ext>
                  </a:extLst>
                </a:gridCol>
                <a:gridCol w="6649397">
                  <a:extLst>
                    <a:ext uri="{9D8B030D-6E8A-4147-A177-3AD203B41FA5}">
                      <a16:colId xmlns:a16="http://schemas.microsoft.com/office/drawing/2014/main" val="1662826842"/>
                    </a:ext>
                  </a:extLst>
                </a:gridCol>
              </a:tblGrid>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DOCUMENT TITLE</a:t>
                      </a: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6350" cap="flat" cmpd="sng" algn="ctr">
                      <a:solidFill>
                        <a:srgbClr val="E8E8E8">
                          <a:lumMod val="9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852721595"/>
                  </a:ext>
                </a:extLst>
              </a:tr>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DATE</a:t>
                      </a: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8E8E8">
                          <a:lumMod val="90000"/>
                        </a:srgb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102930"/>
                  </a:ext>
                </a:extLst>
              </a:tr>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AUTHOR &amp; PRESENTER </a:t>
                      </a: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6350" cap="flat" cmpd="sng" algn="ctr">
                      <a:solidFill>
                        <a:srgbClr val="E8E8E8">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42914"/>
                  </a:ext>
                </a:extLst>
              </a:tr>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EXPORT CONTROL</a:t>
                      </a:r>
                      <a:r>
                        <a:rPr lang="es-ES" sz="1200" b="1" i="0" baseline="0">
                          <a:solidFill>
                            <a:schemeClr val="bg1"/>
                          </a:solidFill>
                          <a:latin typeface="Arial Narrow" panose="020B0604020202020204" pitchFamily="34" charset="0"/>
                        </a:rPr>
                        <a:t> RATING/ CLASIFFICATION* </a:t>
                      </a:r>
                      <a:endParaRPr lang="es-ES" sz="1200" b="1" i="0">
                        <a:solidFill>
                          <a:schemeClr val="bg1"/>
                        </a:solidFill>
                        <a:latin typeface="Arial Narrow" panose="020B0604020202020204" pitchFamily="34" charset="0"/>
                      </a:endParaRP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8E8E8">
                          <a:lumMod val="90000"/>
                        </a:srgbClr>
                      </a:solidFill>
                      <a:prstDash val="solid"/>
                      <a:round/>
                      <a:headEnd type="none" w="med" len="med"/>
                      <a:tailEnd type="none" w="med" len="med"/>
                    </a:lnT>
                    <a:lnB w="6350" cap="flat" cmpd="sng" algn="ctr">
                      <a:solidFill>
                        <a:srgbClr val="E8E8E8">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6881318"/>
                  </a:ext>
                </a:extLst>
              </a:tr>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OWNERSHIP</a:t>
                      </a: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8E8E8">
                          <a:lumMod val="90000"/>
                        </a:srgbClr>
                      </a:solidFill>
                      <a:prstDash val="solid"/>
                      <a:round/>
                      <a:headEnd type="none" w="med" len="med"/>
                      <a:tailEnd type="none" w="med" len="med"/>
                    </a:lnT>
                    <a:lnB w="6350" cap="flat" cmpd="sng" algn="ctr">
                      <a:solidFill>
                        <a:srgbClr val="E8E8E8">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8788361"/>
                  </a:ext>
                </a:extLst>
              </a:tr>
              <a:tr h="549162">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pPr algn="l"/>
                      <a:r>
                        <a:rPr lang="es-ES" sz="1200" b="1" i="0">
                          <a:solidFill>
                            <a:schemeClr val="bg1"/>
                          </a:solidFill>
                          <a:latin typeface="Arial Narrow" panose="020B0604020202020204" pitchFamily="34" charset="0"/>
                        </a:rPr>
                        <a:t>DESTINATION </a:t>
                      </a:r>
                    </a:p>
                  </a:txBody>
                  <a:tcPr anchor="ctr">
                    <a:lnL w="9525" cap="flat" cmpd="sng" algn="ctr">
                      <a:solidFill>
                        <a:srgbClr val="E8E8E8"/>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8E8E8"/>
                      </a:solidFill>
                      <a:prstDash val="solid"/>
                      <a:round/>
                      <a:headEnd type="none" w="med" len="med"/>
                      <a:tailEnd type="none" w="med" len="med"/>
                    </a:lnT>
                    <a:lnB w="9525" cap="flat" cmpd="sng" algn="ctr">
                      <a:solidFill>
                        <a:srgbClr val="E8E8E8"/>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Aptos" panose="02110004020202020204"/>
                        </a:defRPr>
                      </a:lvl1pPr>
                      <a:lvl2pPr marL="457200" algn="l" defTabSz="914400" rtl="0" eaLnBrk="1" latinLnBrk="0" hangingPunct="1">
                        <a:defRPr sz="1800" kern="1200">
                          <a:solidFill>
                            <a:schemeClr val="tx1"/>
                          </a:solidFill>
                          <a:latin typeface="Aptos" panose="02110004020202020204"/>
                        </a:defRPr>
                      </a:lvl2pPr>
                      <a:lvl3pPr marL="914400" algn="l" defTabSz="914400" rtl="0" eaLnBrk="1" latinLnBrk="0" hangingPunct="1">
                        <a:defRPr sz="1800" kern="1200">
                          <a:solidFill>
                            <a:schemeClr val="tx1"/>
                          </a:solidFill>
                          <a:latin typeface="Aptos" panose="02110004020202020204"/>
                        </a:defRPr>
                      </a:lvl3pPr>
                      <a:lvl4pPr marL="1371600" algn="l" defTabSz="914400" rtl="0" eaLnBrk="1" latinLnBrk="0" hangingPunct="1">
                        <a:defRPr sz="1800" kern="1200">
                          <a:solidFill>
                            <a:schemeClr val="tx1"/>
                          </a:solidFill>
                          <a:latin typeface="Aptos" panose="02110004020202020204"/>
                        </a:defRPr>
                      </a:lvl4pPr>
                      <a:lvl5pPr marL="1828800" algn="l" defTabSz="914400" rtl="0" eaLnBrk="1" latinLnBrk="0" hangingPunct="1">
                        <a:defRPr sz="1800" kern="1200">
                          <a:solidFill>
                            <a:schemeClr val="tx1"/>
                          </a:solidFill>
                          <a:latin typeface="Aptos" panose="02110004020202020204"/>
                        </a:defRPr>
                      </a:lvl5pPr>
                      <a:lvl6pPr marL="2286000" algn="l" defTabSz="914400" rtl="0" eaLnBrk="1" latinLnBrk="0" hangingPunct="1">
                        <a:defRPr sz="1800" kern="1200">
                          <a:solidFill>
                            <a:schemeClr val="tx1"/>
                          </a:solidFill>
                          <a:latin typeface="Aptos" panose="02110004020202020204"/>
                        </a:defRPr>
                      </a:lvl6pPr>
                      <a:lvl7pPr marL="2743200" algn="l" defTabSz="914400" rtl="0" eaLnBrk="1" latinLnBrk="0" hangingPunct="1">
                        <a:defRPr sz="1800" kern="1200">
                          <a:solidFill>
                            <a:schemeClr val="tx1"/>
                          </a:solidFill>
                          <a:latin typeface="Aptos" panose="02110004020202020204"/>
                        </a:defRPr>
                      </a:lvl7pPr>
                      <a:lvl8pPr marL="3200400" algn="l" defTabSz="914400" rtl="0" eaLnBrk="1" latinLnBrk="0" hangingPunct="1">
                        <a:defRPr sz="1800" kern="1200">
                          <a:solidFill>
                            <a:schemeClr val="tx1"/>
                          </a:solidFill>
                          <a:latin typeface="Aptos" panose="02110004020202020204"/>
                        </a:defRPr>
                      </a:lvl8pPr>
                      <a:lvl9pPr marL="3657600" algn="l" defTabSz="914400" rtl="0" eaLnBrk="1" latinLnBrk="0" hangingPunct="1">
                        <a:defRPr sz="1800" kern="1200">
                          <a:solidFill>
                            <a:schemeClr val="tx1"/>
                          </a:solidFill>
                          <a:latin typeface="Aptos" panose="02110004020202020204"/>
                        </a:defRPr>
                      </a:lvl9pPr>
                    </a:lstStyle>
                    <a:p>
                      <a:r>
                        <a:rPr lang="es-ES" sz="1200" b="0" i="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8E8E8">
                          <a:lumMod val="90000"/>
                        </a:srgbClr>
                      </a:solidFill>
                      <a:prstDash val="solid"/>
                      <a:round/>
                      <a:headEnd type="none" w="med" len="med"/>
                      <a:tailEnd type="none" w="med" len="med"/>
                    </a:lnT>
                    <a:lnB w="6350" cap="flat" cmpd="sng" algn="ctr">
                      <a:solidFill>
                        <a:srgbClr val="E8E8E8">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603145"/>
                  </a:ext>
                </a:extLst>
              </a:tr>
            </a:tbl>
          </a:graphicData>
        </a:graphic>
      </p:graphicFrame>
      <p:sp>
        <p:nvSpPr>
          <p:cNvPr id="5" name="CuadroTexto 4">
            <a:extLst>
              <a:ext uri="{FF2B5EF4-FFF2-40B4-BE49-F238E27FC236}">
                <a16:creationId xmlns:a16="http://schemas.microsoft.com/office/drawing/2014/main" id="{3F968D31-3940-8030-E13D-09625431A340}"/>
              </a:ext>
            </a:extLst>
          </p:cNvPr>
          <p:cNvSpPr txBox="1"/>
          <p:nvPr/>
        </p:nvSpPr>
        <p:spPr>
          <a:xfrm>
            <a:off x="575128" y="5087690"/>
            <a:ext cx="3780487" cy="938719"/>
          </a:xfrm>
          <a:prstGeom prst="rect">
            <a:avLst/>
          </a:prstGeom>
          <a:noFill/>
        </p:spPr>
        <p:txBody>
          <a:bodyPr wrap="square" rtlCol="0">
            <a:noAutofit/>
          </a:bodyPr>
          <a:lstStyle/>
          <a:p>
            <a:r>
              <a:rPr lang="en-US" sz="1100">
                <a:solidFill>
                  <a:prstClr val="black"/>
                </a:solidFill>
                <a:latin typeface="Arial" panose="020B0604020202020204" pitchFamily="34" charset="0"/>
                <a:cs typeface="Arial" panose="020B0604020202020204" pitchFamily="34" charset="0"/>
              </a:rPr>
              <a:t>*In case there is not export control rating/ classification please complete with: “This information is rated as Not Listed as per the EU Dual-Use list. No license is required to export this information” </a:t>
            </a:r>
          </a:p>
        </p:txBody>
      </p:sp>
    </p:spTree>
    <p:extLst>
      <p:ext uri="{BB962C8B-B14F-4D97-AF65-F5344CB8AC3E}">
        <p14:creationId xmlns:p14="http://schemas.microsoft.com/office/powerpoint/2010/main" val="27771761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FC664-F757-F228-0C38-CFCB88CEA2C3}"/>
            </a:ext>
          </a:extLst>
        </p:cNvPr>
        <p:cNvGrpSpPr/>
        <p:nvPr/>
      </p:nvGrpSpPr>
      <p:grpSpPr>
        <a:xfrm>
          <a:off x="0" y="0"/>
          <a:ext cx="0" cy="0"/>
          <a:chOff x="0" y="0"/>
          <a:chExt cx="0" cy="0"/>
        </a:xfrm>
      </p:grpSpPr>
      <p:sp>
        <p:nvSpPr>
          <p:cNvPr id="4" name="Marcador de texto 3">
            <a:extLst>
              <a:ext uri="{FF2B5EF4-FFF2-40B4-BE49-F238E27FC236}">
                <a16:creationId xmlns:a16="http://schemas.microsoft.com/office/drawing/2014/main" id="{CAB2565D-2D73-892C-6FF7-6520BE19765E}"/>
              </a:ext>
            </a:extLst>
          </p:cNvPr>
          <p:cNvSpPr>
            <a:spLocks noGrp="1"/>
          </p:cNvSpPr>
          <p:nvPr>
            <p:ph type="body" sz="quarter" idx="24"/>
          </p:nvPr>
        </p:nvSpPr>
        <p:spPr/>
        <p:txBody>
          <a:bodyPr/>
          <a:lstStyle/>
          <a:p>
            <a:endParaRPr lang="en-GB"/>
          </a:p>
        </p:txBody>
      </p:sp>
      <p:sp>
        <p:nvSpPr>
          <p:cNvPr id="2" name="Marcador de pie de página 1">
            <a:extLst>
              <a:ext uri="{FF2B5EF4-FFF2-40B4-BE49-F238E27FC236}">
                <a16:creationId xmlns:a16="http://schemas.microsoft.com/office/drawing/2014/main" id="{C77A316A-1934-BEEF-20E9-8D3712136FEE}"/>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5CEDC52F-D75C-4ADD-CFF8-38349F6341ED}"/>
              </a:ext>
            </a:extLst>
          </p:cNvPr>
          <p:cNvSpPr>
            <a:spLocks noGrp="1"/>
          </p:cNvSpPr>
          <p:nvPr>
            <p:ph type="sldNum" sz="quarter" idx="12"/>
          </p:nvPr>
        </p:nvSpPr>
        <p:spPr/>
        <p:txBody>
          <a:bodyPr/>
          <a:lstStyle/>
          <a:p>
            <a:fld id="{FF2CED2D-DE01-CB40-AEF5-C9DD7CD06225}" type="slidenum">
              <a:rPr lang="es-ES" smtClean="0"/>
              <a:pPr/>
              <a:t>56</a:t>
            </a:fld>
            <a:endParaRPr lang="es-ES"/>
          </a:p>
        </p:txBody>
      </p:sp>
      <p:sp>
        <p:nvSpPr>
          <p:cNvPr id="5" name="Marcador de texto 4">
            <a:extLst>
              <a:ext uri="{FF2B5EF4-FFF2-40B4-BE49-F238E27FC236}">
                <a16:creationId xmlns:a16="http://schemas.microsoft.com/office/drawing/2014/main" id="{1BD54EB6-9DF1-D904-43BD-7F7A2C8E72AE}"/>
              </a:ext>
            </a:extLst>
          </p:cNvPr>
          <p:cNvSpPr>
            <a:spLocks noGrp="1"/>
          </p:cNvSpPr>
          <p:nvPr>
            <p:ph type="body" sz="quarter" idx="27"/>
          </p:nvPr>
        </p:nvSpPr>
        <p:spPr/>
        <p:txBody>
          <a:bodyPr/>
          <a:lstStyle/>
          <a:p>
            <a:endParaRPr lang="en-GB"/>
          </a:p>
        </p:txBody>
      </p:sp>
      <p:graphicFrame>
        <p:nvGraphicFramePr>
          <p:cNvPr id="8" name="Tabla 7">
            <a:extLst>
              <a:ext uri="{FF2B5EF4-FFF2-40B4-BE49-F238E27FC236}">
                <a16:creationId xmlns:a16="http://schemas.microsoft.com/office/drawing/2014/main" id="{AF0EA05F-FB2E-D49C-EE9D-F21844B0534F}"/>
              </a:ext>
            </a:extLst>
          </p:cNvPr>
          <p:cNvGraphicFramePr>
            <a:graphicFrameLocks noGrp="1"/>
          </p:cNvGraphicFramePr>
          <p:nvPr>
            <p:extLst>
              <p:ext uri="{D42A27DB-BD31-4B8C-83A1-F6EECF244321}">
                <p14:modId xmlns:p14="http://schemas.microsoft.com/office/powerpoint/2010/main" val="3047280081"/>
              </p:ext>
            </p:extLst>
          </p:nvPr>
        </p:nvGraphicFramePr>
        <p:xfrm>
          <a:off x="600293" y="1759057"/>
          <a:ext cx="10905907" cy="4325529"/>
        </p:xfrm>
        <a:graphic>
          <a:graphicData uri="http://schemas.openxmlformats.org/drawingml/2006/table">
            <a:tbl>
              <a:tblPr firstRow="1" bandRow="1"/>
              <a:tblGrid>
                <a:gridCol w="902848">
                  <a:extLst>
                    <a:ext uri="{9D8B030D-6E8A-4147-A177-3AD203B41FA5}">
                      <a16:colId xmlns:a16="http://schemas.microsoft.com/office/drawing/2014/main" val="1876447655"/>
                    </a:ext>
                  </a:extLst>
                </a:gridCol>
                <a:gridCol w="961914">
                  <a:extLst>
                    <a:ext uri="{9D8B030D-6E8A-4147-A177-3AD203B41FA5}">
                      <a16:colId xmlns:a16="http://schemas.microsoft.com/office/drawing/2014/main" val="405248066"/>
                    </a:ext>
                  </a:extLst>
                </a:gridCol>
                <a:gridCol w="2660980">
                  <a:extLst>
                    <a:ext uri="{9D8B030D-6E8A-4147-A177-3AD203B41FA5}">
                      <a16:colId xmlns:a16="http://schemas.microsoft.com/office/drawing/2014/main" val="363648846"/>
                    </a:ext>
                  </a:extLst>
                </a:gridCol>
                <a:gridCol w="2451324">
                  <a:extLst>
                    <a:ext uri="{9D8B030D-6E8A-4147-A177-3AD203B41FA5}">
                      <a16:colId xmlns:a16="http://schemas.microsoft.com/office/drawing/2014/main" val="955372999"/>
                    </a:ext>
                  </a:extLst>
                </a:gridCol>
                <a:gridCol w="3123028">
                  <a:extLst>
                    <a:ext uri="{9D8B030D-6E8A-4147-A177-3AD203B41FA5}">
                      <a16:colId xmlns:a16="http://schemas.microsoft.com/office/drawing/2014/main" val="1277591953"/>
                    </a:ext>
                  </a:extLst>
                </a:gridCol>
                <a:gridCol w="805813">
                  <a:extLst>
                    <a:ext uri="{9D8B030D-6E8A-4147-A177-3AD203B41FA5}">
                      <a16:colId xmlns:a16="http://schemas.microsoft.com/office/drawing/2014/main" val="301379753"/>
                    </a:ext>
                  </a:extLst>
                </a:gridCol>
              </a:tblGrid>
              <a:tr h="391149">
                <a:tc grid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400" b="1" i="0" noProof="0">
                          <a:latin typeface="Arial Narrow" panose="020B0604020202020204" pitchFamily="34" charset="0"/>
                        </a:rPr>
                        <a:t>PROJECT</a:t>
                      </a:r>
                    </a:p>
                  </a:txBody>
                  <a:tcPr>
                    <a:lnL>
                      <a:noFill/>
                    </a:lnL>
                    <a:lnR>
                      <a:noFill/>
                    </a:lnR>
                    <a:lnT>
                      <a:noFill/>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400" b="1" i="0" noProof="0">
                          <a:latin typeface="Arial Narrow" panose="020B0604020202020204" pitchFamily="34" charset="0"/>
                        </a:rPr>
                        <a:t>SUB-PROJECT</a:t>
                      </a:r>
                    </a:p>
                  </a:txBody>
                  <a:tcPr>
                    <a:lnL>
                      <a:noFill/>
                    </a:lnL>
                    <a:lnR>
                      <a:noFill/>
                    </a:lnR>
                    <a:lnT>
                      <a:noFill/>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400" b="1" i="0" noProof="0">
                          <a:latin typeface="Arial Narrow" panose="020B0604020202020204" pitchFamily="34" charset="0"/>
                        </a:rPr>
                        <a:t>INITIATIVE</a:t>
                      </a:r>
                    </a:p>
                  </a:txBody>
                  <a:tcPr>
                    <a:lnL>
                      <a:noFill/>
                    </a:lnL>
                    <a:lnR>
                      <a:noFill/>
                    </a:lnR>
                    <a:lnT>
                      <a:noFill/>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400" b="1" i="0" noProof="0">
                          <a:latin typeface="Arial Narrow" panose="020B0604020202020204" pitchFamily="34" charset="0"/>
                        </a:rPr>
                        <a:t>DESCRIPTION</a:t>
                      </a:r>
                      <a:r>
                        <a:rPr lang="en-US" sz="1400" b="1" i="0" baseline="0" noProof="0">
                          <a:latin typeface="Arial Narrow" panose="020B0604020202020204" pitchFamily="34" charset="0"/>
                        </a:rPr>
                        <a:t> </a:t>
                      </a:r>
                      <a:endParaRPr lang="en-US" sz="1400" b="1" i="0" noProof="0">
                        <a:latin typeface="Arial Narrow" panose="020B0604020202020204" pitchFamily="34" charset="0"/>
                      </a:endParaRPr>
                    </a:p>
                  </a:txBody>
                  <a:tcPr>
                    <a:lnL>
                      <a:noFill/>
                    </a:lnL>
                    <a:lnR>
                      <a:noFill/>
                    </a:lnR>
                    <a:lnT>
                      <a:noFill/>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400" b="1" i="0" noProof="0">
                          <a:latin typeface="Arial Narrow" panose="020B0604020202020204" pitchFamily="34" charset="0"/>
                        </a:rPr>
                        <a:t>STATUS</a:t>
                      </a:r>
                      <a:r>
                        <a:rPr lang="en-US" sz="1400" b="1" i="0" baseline="0" noProof="0">
                          <a:latin typeface="Arial Narrow" panose="020B0604020202020204" pitchFamily="34" charset="0"/>
                        </a:rPr>
                        <a:t> </a:t>
                      </a:r>
                      <a:endParaRPr lang="en-US" sz="1400" b="1" i="0" noProof="0">
                        <a:latin typeface="Arial Narrow" panose="020B0604020202020204" pitchFamily="34" charset="0"/>
                      </a:endParaRPr>
                    </a:p>
                  </a:txBody>
                  <a:tcPr>
                    <a:lnL>
                      <a:noFill/>
                    </a:lnL>
                    <a:lnR>
                      <a:noFill/>
                    </a:lnR>
                    <a:lnT>
                      <a:noFill/>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9429289"/>
                  </a:ext>
                </a:extLst>
              </a:tr>
              <a:tr h="393438">
                <a:tc rowSpan="3" grid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b="1" i="0" noProof="0">
                          <a:solidFill>
                            <a:schemeClr val="bg1"/>
                          </a:solidFill>
                          <a:latin typeface="Arial Narrow" panose="020B0604020202020204" pitchFamily="34" charset="0"/>
                        </a:rPr>
                        <a:t>PROJECT</a:t>
                      </a:r>
                      <a:r>
                        <a:rPr lang="en-US" sz="1200" b="1" i="0" baseline="0" noProof="0">
                          <a:solidFill>
                            <a:schemeClr val="bg1"/>
                          </a:solidFill>
                          <a:latin typeface="Arial Narrow" panose="020B0604020202020204" pitchFamily="34" charset="0"/>
                        </a:rPr>
                        <a:t> 1</a:t>
                      </a:r>
                      <a:endParaRPr lang="en-US" sz="1200" b="1" i="0" noProof="0">
                        <a:solidFill>
                          <a:schemeClr val="bg1"/>
                        </a:solidFill>
                        <a:latin typeface="Arial Narrow" panose="020B0604020202020204" pitchFamily="34" charset="0"/>
                      </a:endParaRPr>
                    </a:p>
                  </a:txBody>
                  <a:tcPr anchor="ct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rowSpan="3" h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5214"/>
                  </a:ext>
                </a:extLst>
              </a:tr>
              <a:tr h="393438">
                <a:tc gridSpan="2" vMerge="1">
                  <a:txBody>
                    <a:bodyPr/>
                    <a:lstStyle/>
                    <a:p>
                      <a:endParaRPr lang="es-ES"/>
                    </a:p>
                  </a:txBody>
                  <a:tcPr/>
                </a:tc>
                <a:tc hMerge="1"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946371"/>
                  </a:ext>
                </a:extLst>
              </a:tr>
              <a:tr h="393438">
                <a:tc gridSpan="2" vMerge="1">
                  <a:txBody>
                    <a:bodyPr/>
                    <a:lstStyle/>
                    <a:p>
                      <a:endParaRPr lang="es-ES"/>
                    </a:p>
                  </a:txBody>
                  <a:tcPr/>
                </a:tc>
                <a:tc hMerge="1"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0579690"/>
                  </a:ext>
                </a:extLst>
              </a:tr>
              <a:tr h="393438">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PROJECT 2</a:t>
                      </a:r>
                    </a:p>
                  </a:txBody>
                  <a:tcPr>
                    <a:lnL w="9525" cap="flat" cmpd="sng" algn="ctr">
                      <a:solidFill>
                        <a:srgbClr val="E7E6E6"/>
                      </a:solidFill>
                      <a:prstDash val="solid"/>
                      <a:round/>
                      <a:headEnd type="none" w="med" len="med"/>
                      <a:tailEnd type="none" w="med" len="med"/>
                    </a:lnL>
                    <a:lnR w="9525" cap="flat" cmpd="sng" algn="ctr">
                      <a:solidFill>
                        <a:srgbClr val="E7E6E6"/>
                      </a:solid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2.1</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4947367"/>
                  </a:ext>
                </a:extLst>
              </a:tr>
              <a:tr h="393438">
                <a:tc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2.2</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8366614"/>
                  </a:ext>
                </a:extLst>
              </a:tr>
              <a:tr h="393438">
                <a:tc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2.3</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6654421"/>
                  </a:ext>
                </a:extLst>
              </a:tr>
              <a:tr h="393438">
                <a:tc grid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PROJECT 3</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h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73943"/>
                  </a:ext>
                </a:extLst>
              </a:tr>
              <a:tr h="393438">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PROJECT 4</a:t>
                      </a:r>
                    </a:p>
                  </a:txBody>
                  <a:tcPr>
                    <a:lnL w="9525" cap="flat" cmpd="sng" algn="ctr">
                      <a:solidFill>
                        <a:srgbClr val="E7E6E6"/>
                      </a:solidFill>
                      <a:prstDash val="solid"/>
                      <a:round/>
                      <a:headEnd type="none" w="med" len="med"/>
                      <a:tailEnd type="none" w="med" len="med"/>
                    </a:lnL>
                    <a:lnR w="9525" cap="flat" cmpd="sng" algn="ctr">
                      <a:solidFill>
                        <a:srgbClr val="E7E6E6"/>
                      </a:solid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4.1</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6020851"/>
                  </a:ext>
                </a:extLst>
              </a:tr>
              <a:tr h="393438">
                <a:tc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4.2</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635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89650"/>
                  </a:ext>
                </a:extLst>
              </a:tr>
              <a:tr h="393438">
                <a:tc vMerge="1">
                  <a:txBody>
                    <a:bodyPr/>
                    <a:lstStyle/>
                    <a:p>
                      <a:endParaRPr lang="es-ES"/>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200" b="1" i="0" noProof="0">
                          <a:solidFill>
                            <a:schemeClr val="bg1"/>
                          </a:solidFill>
                          <a:latin typeface="Arial Narrow" panose="020B0604020202020204" pitchFamily="34" charset="0"/>
                        </a:rPr>
                        <a:t>TOPIC 4.3</a:t>
                      </a:r>
                    </a:p>
                  </a:txBody>
                  <a:tcPr>
                    <a:lnL w="9525" cap="flat" cmpd="sng" algn="ctr">
                      <a:solidFill>
                        <a:srgbClr val="E7E6E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E7E6E6"/>
                      </a:solidFill>
                      <a:prstDash val="solid"/>
                      <a:round/>
                      <a:headEnd type="none" w="med" len="med"/>
                      <a:tailEnd type="none" w="med" len="med"/>
                    </a:lnT>
                    <a:lnB w="9525" cap="flat" cmpd="sng" algn="ctr">
                      <a:solidFill>
                        <a:srgbClr val="E7E6E6"/>
                      </a:solidFill>
                      <a:prstDash val="solid"/>
                      <a:round/>
                      <a:headEnd type="none" w="med" len="med"/>
                      <a:tailEnd type="none" w="med" len="med"/>
                    </a:lnB>
                    <a:lnTlToBr w="12700" cmpd="sng">
                      <a:noFill/>
                      <a:prstDash val="solid"/>
                    </a:lnTlToBr>
                    <a:lnBlToTr w="12700" cmpd="sng">
                      <a:noFill/>
                      <a:prstDash val="solid"/>
                    </a:lnBlToTr>
                    <a:solidFill>
                      <a:srgbClr val="0042ED"/>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9525"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9525"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r>
                        <a:rPr lang="en-US" sz="1100" b="0" i="0" noProof="0">
                          <a:latin typeface="Arial" panose="020B0604020202020204" pitchFamily="34" charset="0"/>
                          <a:cs typeface="Arial" panose="020B0604020202020204" pitchFamily="34" charset="0"/>
                        </a:rPr>
                        <a:t>Tex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9525"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100" noProof="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E7E6E6">
                          <a:lumMod val="90000"/>
                        </a:srgbClr>
                      </a:solidFill>
                      <a:prstDash val="solid"/>
                      <a:round/>
                      <a:headEnd type="none" w="med" len="med"/>
                      <a:tailEnd type="none" w="med" len="med"/>
                    </a:lnT>
                    <a:lnB w="9525"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516400"/>
                  </a:ext>
                </a:extLst>
              </a:tr>
            </a:tbl>
          </a:graphicData>
        </a:graphic>
      </p:graphicFrame>
      <p:sp>
        <p:nvSpPr>
          <p:cNvPr id="9" name="Elipse 8">
            <a:extLst>
              <a:ext uri="{FF2B5EF4-FFF2-40B4-BE49-F238E27FC236}">
                <a16:creationId xmlns:a16="http://schemas.microsoft.com/office/drawing/2014/main" id="{68B93A23-A266-C3F7-DB5B-E278F1E3F3D8}"/>
              </a:ext>
            </a:extLst>
          </p:cNvPr>
          <p:cNvSpPr/>
          <p:nvPr/>
        </p:nvSpPr>
        <p:spPr>
          <a:xfrm>
            <a:off x="11101874" y="2206825"/>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0" name="Elipse 9">
            <a:extLst>
              <a:ext uri="{FF2B5EF4-FFF2-40B4-BE49-F238E27FC236}">
                <a16:creationId xmlns:a16="http://schemas.microsoft.com/office/drawing/2014/main" id="{6CD74E1F-F815-DCF0-6EBA-BBBBDC1E9B80}"/>
              </a:ext>
            </a:extLst>
          </p:cNvPr>
          <p:cNvSpPr/>
          <p:nvPr/>
        </p:nvSpPr>
        <p:spPr>
          <a:xfrm>
            <a:off x="11104546" y="2613295"/>
            <a:ext cx="135004" cy="140123"/>
          </a:xfrm>
          <a:prstGeom prst="ellipse">
            <a:avLst/>
          </a:prstGeom>
          <a:solidFill>
            <a:srgbClr val="FFFF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1" name="Elipse 10">
            <a:extLst>
              <a:ext uri="{FF2B5EF4-FFF2-40B4-BE49-F238E27FC236}">
                <a16:creationId xmlns:a16="http://schemas.microsoft.com/office/drawing/2014/main" id="{4398B121-C018-F875-E13F-ABFEEBC85CF6}"/>
              </a:ext>
            </a:extLst>
          </p:cNvPr>
          <p:cNvSpPr/>
          <p:nvPr/>
        </p:nvSpPr>
        <p:spPr>
          <a:xfrm>
            <a:off x="11104546" y="3040483"/>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2" name="Elipse 11">
            <a:extLst>
              <a:ext uri="{FF2B5EF4-FFF2-40B4-BE49-F238E27FC236}">
                <a16:creationId xmlns:a16="http://schemas.microsoft.com/office/drawing/2014/main" id="{807EC62A-6C2E-E163-2BBF-A08FF24FF1C4}"/>
              </a:ext>
            </a:extLst>
          </p:cNvPr>
          <p:cNvSpPr/>
          <p:nvPr/>
        </p:nvSpPr>
        <p:spPr>
          <a:xfrm>
            <a:off x="11104546" y="3430679"/>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3" name="Elipse 12">
            <a:extLst>
              <a:ext uri="{FF2B5EF4-FFF2-40B4-BE49-F238E27FC236}">
                <a16:creationId xmlns:a16="http://schemas.microsoft.com/office/drawing/2014/main" id="{B3D8FBF4-416B-2261-3B0D-3DE1E29016A5}"/>
              </a:ext>
            </a:extLst>
          </p:cNvPr>
          <p:cNvSpPr/>
          <p:nvPr/>
        </p:nvSpPr>
        <p:spPr>
          <a:xfrm>
            <a:off x="11104546" y="3846818"/>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4" name="Elipse 13">
            <a:extLst>
              <a:ext uri="{FF2B5EF4-FFF2-40B4-BE49-F238E27FC236}">
                <a16:creationId xmlns:a16="http://schemas.microsoft.com/office/drawing/2014/main" id="{AA52EA7C-A115-19D3-7D29-B98580FD42CF}"/>
              </a:ext>
            </a:extLst>
          </p:cNvPr>
          <p:cNvSpPr/>
          <p:nvPr/>
        </p:nvSpPr>
        <p:spPr>
          <a:xfrm>
            <a:off x="11104546" y="4245693"/>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5" name="Elipse 14">
            <a:extLst>
              <a:ext uri="{FF2B5EF4-FFF2-40B4-BE49-F238E27FC236}">
                <a16:creationId xmlns:a16="http://schemas.microsoft.com/office/drawing/2014/main" id="{5C9CE7B7-C4AB-2D73-A5CF-8B0A8206949B}"/>
              </a:ext>
            </a:extLst>
          </p:cNvPr>
          <p:cNvSpPr/>
          <p:nvPr/>
        </p:nvSpPr>
        <p:spPr>
          <a:xfrm>
            <a:off x="11105882" y="4627211"/>
            <a:ext cx="135004" cy="140123"/>
          </a:xfrm>
          <a:prstGeom prst="ellipse">
            <a:avLst/>
          </a:prstGeom>
          <a:solidFill>
            <a:srgbClr val="FF00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6" name="Elipse 15">
            <a:extLst>
              <a:ext uri="{FF2B5EF4-FFF2-40B4-BE49-F238E27FC236}">
                <a16:creationId xmlns:a16="http://schemas.microsoft.com/office/drawing/2014/main" id="{147EAAAF-6631-66B6-8FE2-EFF08A825376}"/>
              </a:ext>
            </a:extLst>
          </p:cNvPr>
          <p:cNvSpPr/>
          <p:nvPr/>
        </p:nvSpPr>
        <p:spPr>
          <a:xfrm>
            <a:off x="11105882" y="5008729"/>
            <a:ext cx="135004" cy="140123"/>
          </a:xfrm>
          <a:prstGeom prst="ellipse">
            <a:avLst/>
          </a:prstGeom>
          <a:solidFill>
            <a:srgbClr val="FFFF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7" name="Elipse 16">
            <a:extLst>
              <a:ext uri="{FF2B5EF4-FFF2-40B4-BE49-F238E27FC236}">
                <a16:creationId xmlns:a16="http://schemas.microsoft.com/office/drawing/2014/main" id="{0EF9F12A-9AA5-A74F-3504-AAF9A7F032D9}"/>
              </a:ext>
            </a:extLst>
          </p:cNvPr>
          <p:cNvSpPr/>
          <p:nvPr/>
        </p:nvSpPr>
        <p:spPr>
          <a:xfrm>
            <a:off x="11105882" y="5407604"/>
            <a:ext cx="135004" cy="140123"/>
          </a:xfrm>
          <a:prstGeom prst="ellipse">
            <a:avLst/>
          </a:prstGeom>
          <a:solidFill>
            <a:srgbClr val="FFFF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8" name="Elipse 17">
            <a:extLst>
              <a:ext uri="{FF2B5EF4-FFF2-40B4-BE49-F238E27FC236}">
                <a16:creationId xmlns:a16="http://schemas.microsoft.com/office/drawing/2014/main" id="{38E09FA8-7C11-E878-24CD-8BBB58F78EF5}"/>
              </a:ext>
            </a:extLst>
          </p:cNvPr>
          <p:cNvSpPr/>
          <p:nvPr/>
        </p:nvSpPr>
        <p:spPr>
          <a:xfrm>
            <a:off x="11106550" y="5789122"/>
            <a:ext cx="135004" cy="140123"/>
          </a:xfrm>
          <a:prstGeom prst="ellipse">
            <a:avLst/>
          </a:prstGeom>
          <a:solidFill>
            <a:srgbClr val="00E600"/>
          </a:solidFill>
          <a:ln w="12700" cap="flat" cmpd="sng" algn="ctr">
            <a:noFill/>
            <a:prstDash val="solid"/>
            <a:miter lim="800000"/>
          </a:ln>
          <a:effectLst/>
        </p:spPr>
        <p:txBody>
          <a:bodyPr rtlCol="0" anchor="ctr"/>
          <a:lstStyle/>
          <a:p>
            <a:pPr algn="ctr">
              <a:defRPr/>
            </a:pPr>
            <a:endParaRPr lang="en-US" kern="0">
              <a:solidFill>
                <a:prstClr val="white"/>
              </a:solidFill>
              <a:latin typeface="Century Gothic"/>
            </a:endParaRPr>
          </a:p>
        </p:txBody>
      </p:sp>
      <p:sp>
        <p:nvSpPr>
          <p:cNvPr id="19" name="Llamada rectangular 18">
            <a:extLst>
              <a:ext uri="{FF2B5EF4-FFF2-40B4-BE49-F238E27FC236}">
                <a16:creationId xmlns:a16="http://schemas.microsoft.com/office/drawing/2014/main" id="{C254E9F6-4131-121A-5D14-1613267BA8B3}"/>
              </a:ext>
            </a:extLst>
          </p:cNvPr>
          <p:cNvSpPr/>
          <p:nvPr/>
        </p:nvSpPr>
        <p:spPr>
          <a:xfrm>
            <a:off x="3359690" y="5078790"/>
            <a:ext cx="1227705" cy="569204"/>
          </a:xfrm>
          <a:prstGeom prst="wedgeRectCallout">
            <a:avLst>
              <a:gd name="adj1" fmla="val -20853"/>
              <a:gd name="adj2" fmla="val -65591"/>
            </a:avLst>
          </a:prstGeom>
          <a:solidFill>
            <a:srgbClr val="BCD3DE"/>
          </a:solidFill>
          <a:ln w="12700" cap="flat" cmpd="sng" algn="ctr">
            <a:noFill/>
            <a:prstDash val="solid"/>
            <a:miter lim="800000"/>
          </a:ln>
          <a:effectLst/>
        </p:spPr>
        <p:txBody>
          <a:bodyPr rtlCol="0" anchor="ctr"/>
          <a:lstStyle/>
          <a:p>
            <a:pPr algn="ctr">
              <a:defRPr/>
            </a:pPr>
            <a:r>
              <a:rPr lang="en-US" sz="900" kern="0">
                <a:solidFill>
                  <a:prstClr val="black"/>
                </a:solidFill>
                <a:latin typeface="Arial" panose="020B0604020202020204" pitchFamily="34" charset="0"/>
                <a:cs typeface="Arial" panose="020B0604020202020204" pitchFamily="34" charset="0"/>
              </a:rPr>
              <a:t>Notes </a:t>
            </a:r>
          </a:p>
        </p:txBody>
      </p:sp>
      <p:sp>
        <p:nvSpPr>
          <p:cNvPr id="20" name="Llamada rectangular 19">
            <a:extLst>
              <a:ext uri="{FF2B5EF4-FFF2-40B4-BE49-F238E27FC236}">
                <a16:creationId xmlns:a16="http://schemas.microsoft.com/office/drawing/2014/main" id="{8A149C3F-2702-E2FC-42F6-3736A8D1A37E}"/>
              </a:ext>
            </a:extLst>
          </p:cNvPr>
          <p:cNvSpPr/>
          <p:nvPr/>
        </p:nvSpPr>
        <p:spPr>
          <a:xfrm>
            <a:off x="3853470" y="2753418"/>
            <a:ext cx="1008322" cy="516039"/>
          </a:xfrm>
          <a:prstGeom prst="wedgeRectCallout">
            <a:avLst>
              <a:gd name="adj1" fmla="val -22518"/>
              <a:gd name="adj2" fmla="val -64238"/>
            </a:avLst>
          </a:prstGeom>
          <a:solidFill>
            <a:srgbClr val="BCD3DE"/>
          </a:solidFill>
          <a:ln w="12700" cap="flat" cmpd="sng" algn="ctr">
            <a:noFill/>
            <a:prstDash val="solid"/>
            <a:miter lim="800000"/>
          </a:ln>
          <a:effectLst/>
        </p:spPr>
        <p:txBody>
          <a:bodyPr rtlCol="0" anchor="ctr"/>
          <a:lstStyle/>
          <a:p>
            <a:pPr algn="ctr">
              <a:defRPr/>
            </a:pPr>
            <a:r>
              <a:rPr lang="en-US" sz="900" kern="0">
                <a:solidFill>
                  <a:prstClr val="black"/>
                </a:solidFill>
                <a:latin typeface="Arial" panose="020B0604020202020204" pitchFamily="34" charset="0"/>
                <a:cs typeface="Arial" panose="020B0604020202020204" pitchFamily="34" charset="0"/>
              </a:rPr>
              <a:t>Notes</a:t>
            </a:r>
          </a:p>
        </p:txBody>
      </p:sp>
    </p:spTree>
    <p:extLst>
      <p:ext uri="{BB962C8B-B14F-4D97-AF65-F5344CB8AC3E}">
        <p14:creationId xmlns:p14="http://schemas.microsoft.com/office/powerpoint/2010/main" val="6988444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534B6-1486-2CB2-85BE-971CEED41F96}"/>
            </a:ext>
          </a:extLst>
        </p:cNvPr>
        <p:cNvGrpSpPr/>
        <p:nvPr/>
      </p:nvGrpSpPr>
      <p:grpSpPr>
        <a:xfrm>
          <a:off x="0" y="0"/>
          <a:ext cx="0" cy="0"/>
          <a:chOff x="0" y="0"/>
          <a:chExt cx="0" cy="0"/>
        </a:xfrm>
      </p:grpSpPr>
      <p:sp>
        <p:nvSpPr>
          <p:cNvPr id="8" name="Marcador de texto 7">
            <a:extLst>
              <a:ext uri="{FF2B5EF4-FFF2-40B4-BE49-F238E27FC236}">
                <a16:creationId xmlns:a16="http://schemas.microsoft.com/office/drawing/2014/main" id="{141A40C7-E5F7-C5DE-4187-6F2334245B3C}"/>
              </a:ext>
            </a:extLst>
          </p:cNvPr>
          <p:cNvSpPr>
            <a:spLocks noGrp="1"/>
          </p:cNvSpPr>
          <p:nvPr>
            <p:ph type="body" sz="quarter" idx="24"/>
          </p:nvPr>
        </p:nvSpPr>
        <p:spPr/>
        <p:txBody>
          <a:bodyPr/>
          <a:lstStyle/>
          <a:p>
            <a:endParaRPr lang="en-GB"/>
          </a:p>
        </p:txBody>
      </p:sp>
      <p:sp>
        <p:nvSpPr>
          <p:cNvPr id="2" name="Marcador de pie de página 1">
            <a:extLst>
              <a:ext uri="{FF2B5EF4-FFF2-40B4-BE49-F238E27FC236}">
                <a16:creationId xmlns:a16="http://schemas.microsoft.com/office/drawing/2014/main" id="{110A63B2-9A1D-ECC0-0C1C-A918A4D0DEAB}"/>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A6E78F7D-5BD7-F29E-B430-639E7D59E448}"/>
              </a:ext>
            </a:extLst>
          </p:cNvPr>
          <p:cNvSpPr>
            <a:spLocks noGrp="1"/>
          </p:cNvSpPr>
          <p:nvPr>
            <p:ph type="sldNum" sz="quarter" idx="12"/>
          </p:nvPr>
        </p:nvSpPr>
        <p:spPr/>
        <p:txBody>
          <a:bodyPr/>
          <a:lstStyle/>
          <a:p>
            <a:fld id="{FF2CED2D-DE01-CB40-AEF5-C9DD7CD06225}" type="slidenum">
              <a:rPr lang="es-ES" smtClean="0"/>
              <a:pPr/>
              <a:t>57</a:t>
            </a:fld>
            <a:endParaRPr lang="es-ES"/>
          </a:p>
        </p:txBody>
      </p:sp>
      <p:sp>
        <p:nvSpPr>
          <p:cNvPr id="9" name="Marcador de texto 8">
            <a:extLst>
              <a:ext uri="{FF2B5EF4-FFF2-40B4-BE49-F238E27FC236}">
                <a16:creationId xmlns:a16="http://schemas.microsoft.com/office/drawing/2014/main" id="{3F7D84E0-7B5E-1814-D0C6-39E3F5F9CBDB}"/>
              </a:ext>
            </a:extLst>
          </p:cNvPr>
          <p:cNvSpPr>
            <a:spLocks noGrp="1"/>
          </p:cNvSpPr>
          <p:nvPr>
            <p:ph type="body" sz="quarter" idx="27"/>
          </p:nvPr>
        </p:nvSpPr>
        <p:spPr/>
        <p:txBody>
          <a:bodyPr/>
          <a:lstStyle/>
          <a:p>
            <a:endParaRPr lang="en-GB"/>
          </a:p>
        </p:txBody>
      </p:sp>
      <p:pic>
        <p:nvPicPr>
          <p:cNvPr id="4" name="Imagen 3">
            <a:extLst>
              <a:ext uri="{FF2B5EF4-FFF2-40B4-BE49-F238E27FC236}">
                <a16:creationId xmlns:a16="http://schemas.microsoft.com/office/drawing/2014/main" id="{DBC58FFE-2018-5577-CBBB-A751EE4AF020}"/>
              </a:ext>
            </a:extLst>
          </p:cNvPr>
          <p:cNvPicPr>
            <a:picLocks noChangeAspect="1"/>
          </p:cNvPicPr>
          <p:nvPr/>
        </p:nvPicPr>
        <p:blipFill>
          <a:blip r:embed="rId2"/>
          <a:stretch>
            <a:fillRect/>
          </a:stretch>
        </p:blipFill>
        <p:spPr>
          <a:xfrm>
            <a:off x="490088" y="3591789"/>
            <a:ext cx="2127809" cy="1445090"/>
          </a:xfrm>
          <a:prstGeom prst="rect">
            <a:avLst/>
          </a:prstGeom>
        </p:spPr>
      </p:pic>
      <p:pic>
        <p:nvPicPr>
          <p:cNvPr id="5" name="Imagen 4">
            <a:extLst>
              <a:ext uri="{FF2B5EF4-FFF2-40B4-BE49-F238E27FC236}">
                <a16:creationId xmlns:a16="http://schemas.microsoft.com/office/drawing/2014/main" id="{F5067B6C-BCC3-33C6-CF18-587DCCAFF7DA}"/>
              </a:ext>
            </a:extLst>
          </p:cNvPr>
          <p:cNvPicPr>
            <a:picLocks noChangeAspect="1"/>
          </p:cNvPicPr>
          <p:nvPr/>
        </p:nvPicPr>
        <p:blipFill>
          <a:blip r:embed="rId3"/>
          <a:stretch>
            <a:fillRect/>
          </a:stretch>
        </p:blipFill>
        <p:spPr>
          <a:xfrm>
            <a:off x="2328160" y="3583899"/>
            <a:ext cx="2127809" cy="1445090"/>
          </a:xfrm>
          <a:prstGeom prst="rect">
            <a:avLst/>
          </a:prstGeom>
        </p:spPr>
      </p:pic>
      <p:pic>
        <p:nvPicPr>
          <p:cNvPr id="21" name="Imagen 20">
            <a:extLst>
              <a:ext uri="{FF2B5EF4-FFF2-40B4-BE49-F238E27FC236}">
                <a16:creationId xmlns:a16="http://schemas.microsoft.com/office/drawing/2014/main" id="{B06D4B4D-14BA-63E1-0A26-94A3258264E2}"/>
              </a:ext>
            </a:extLst>
          </p:cNvPr>
          <p:cNvPicPr>
            <a:picLocks noChangeAspect="1"/>
          </p:cNvPicPr>
          <p:nvPr/>
        </p:nvPicPr>
        <p:blipFill>
          <a:blip r:embed="rId3"/>
          <a:stretch>
            <a:fillRect/>
          </a:stretch>
        </p:blipFill>
        <p:spPr>
          <a:xfrm>
            <a:off x="4170922" y="3583899"/>
            <a:ext cx="2127809" cy="1445090"/>
          </a:xfrm>
          <a:prstGeom prst="rect">
            <a:avLst/>
          </a:prstGeom>
        </p:spPr>
      </p:pic>
      <p:pic>
        <p:nvPicPr>
          <p:cNvPr id="22" name="Imagen 21">
            <a:extLst>
              <a:ext uri="{FF2B5EF4-FFF2-40B4-BE49-F238E27FC236}">
                <a16:creationId xmlns:a16="http://schemas.microsoft.com/office/drawing/2014/main" id="{3D71013B-1BA6-3482-FB49-4A234868D7BB}"/>
              </a:ext>
            </a:extLst>
          </p:cNvPr>
          <p:cNvPicPr>
            <a:picLocks noChangeAspect="1"/>
          </p:cNvPicPr>
          <p:nvPr/>
        </p:nvPicPr>
        <p:blipFill>
          <a:blip r:embed="rId3"/>
          <a:stretch>
            <a:fillRect/>
          </a:stretch>
        </p:blipFill>
        <p:spPr>
          <a:xfrm>
            <a:off x="6013682" y="3583899"/>
            <a:ext cx="2127809" cy="1445090"/>
          </a:xfrm>
          <a:prstGeom prst="rect">
            <a:avLst/>
          </a:prstGeom>
        </p:spPr>
      </p:pic>
      <p:pic>
        <p:nvPicPr>
          <p:cNvPr id="23" name="Imagen 22">
            <a:extLst>
              <a:ext uri="{FF2B5EF4-FFF2-40B4-BE49-F238E27FC236}">
                <a16:creationId xmlns:a16="http://schemas.microsoft.com/office/drawing/2014/main" id="{464D281E-2709-6E62-C0D0-2B376B2A6E58}"/>
              </a:ext>
            </a:extLst>
          </p:cNvPr>
          <p:cNvPicPr>
            <a:picLocks noChangeAspect="1"/>
          </p:cNvPicPr>
          <p:nvPr/>
        </p:nvPicPr>
        <p:blipFill>
          <a:blip r:embed="rId3"/>
          <a:stretch>
            <a:fillRect/>
          </a:stretch>
        </p:blipFill>
        <p:spPr>
          <a:xfrm>
            <a:off x="7856443" y="3583899"/>
            <a:ext cx="2127809" cy="1445090"/>
          </a:xfrm>
          <a:prstGeom prst="rect">
            <a:avLst/>
          </a:prstGeom>
        </p:spPr>
      </p:pic>
      <p:pic>
        <p:nvPicPr>
          <p:cNvPr id="24" name="Imagen 23">
            <a:extLst>
              <a:ext uri="{FF2B5EF4-FFF2-40B4-BE49-F238E27FC236}">
                <a16:creationId xmlns:a16="http://schemas.microsoft.com/office/drawing/2014/main" id="{12DC7916-4889-12FE-1A2A-3077E6E145BF}"/>
              </a:ext>
            </a:extLst>
          </p:cNvPr>
          <p:cNvPicPr>
            <a:picLocks noChangeAspect="1"/>
          </p:cNvPicPr>
          <p:nvPr/>
        </p:nvPicPr>
        <p:blipFill>
          <a:blip r:embed="rId3"/>
          <a:stretch>
            <a:fillRect/>
          </a:stretch>
        </p:blipFill>
        <p:spPr>
          <a:xfrm>
            <a:off x="9699202" y="3583899"/>
            <a:ext cx="2127809" cy="1445090"/>
          </a:xfrm>
          <a:prstGeom prst="rect">
            <a:avLst/>
          </a:prstGeom>
        </p:spPr>
      </p:pic>
      <p:grpSp>
        <p:nvGrpSpPr>
          <p:cNvPr id="25" name="Grupo 24">
            <a:extLst>
              <a:ext uri="{FF2B5EF4-FFF2-40B4-BE49-F238E27FC236}">
                <a16:creationId xmlns:a16="http://schemas.microsoft.com/office/drawing/2014/main" id="{B27FA998-E683-12E3-8E32-00BC7D68D7B2}"/>
              </a:ext>
            </a:extLst>
          </p:cNvPr>
          <p:cNvGrpSpPr/>
          <p:nvPr/>
        </p:nvGrpSpPr>
        <p:grpSpPr>
          <a:xfrm>
            <a:off x="665520" y="2635718"/>
            <a:ext cx="3299777" cy="954107"/>
            <a:chOff x="721360" y="1700724"/>
            <a:chExt cx="3299777" cy="1540316"/>
          </a:xfrm>
        </p:grpSpPr>
        <p:cxnSp>
          <p:nvCxnSpPr>
            <p:cNvPr id="26" name="Straight Connector 77">
              <a:extLst>
                <a:ext uri="{FF2B5EF4-FFF2-40B4-BE49-F238E27FC236}">
                  <a16:creationId xmlns:a16="http://schemas.microsoft.com/office/drawing/2014/main" id="{55576F3A-8E80-7D0C-A354-05B7021EF38E}"/>
                </a:ext>
              </a:extLst>
            </p:cNvPr>
            <p:cNvCxnSpPr>
              <a:cxnSpLocks/>
            </p:cNvCxnSpPr>
            <p:nvPr/>
          </p:nvCxnSpPr>
          <p:spPr>
            <a:xfrm flipV="1">
              <a:off x="721360" y="1700725"/>
              <a:ext cx="0" cy="1540315"/>
            </a:xfrm>
            <a:prstGeom prst="line">
              <a:avLst/>
            </a:prstGeom>
            <a:noFill/>
            <a:ln w="6350" cap="flat" cmpd="sng" algn="ctr">
              <a:solidFill>
                <a:sysClr val="windowText" lastClr="000000"/>
              </a:solidFill>
              <a:prstDash val="solid"/>
              <a:miter lim="800000"/>
              <a:tailEnd type="none"/>
            </a:ln>
            <a:effectLst/>
          </p:spPr>
        </p:cxnSp>
        <p:sp>
          <p:nvSpPr>
            <p:cNvPr id="27" name="TextBox 10">
              <a:extLst>
                <a:ext uri="{FF2B5EF4-FFF2-40B4-BE49-F238E27FC236}">
                  <a16:creationId xmlns:a16="http://schemas.microsoft.com/office/drawing/2014/main" id="{09A0EE7D-8205-9F0D-FD6A-9CF07ECC2B33}"/>
                </a:ext>
              </a:extLst>
            </p:cNvPr>
            <p:cNvSpPr txBox="1"/>
            <p:nvPr/>
          </p:nvSpPr>
          <p:spPr>
            <a:xfrm>
              <a:off x="881379" y="1700724"/>
              <a:ext cx="3139758" cy="3478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28" name="TextBox 11">
              <a:extLst>
                <a:ext uri="{FF2B5EF4-FFF2-40B4-BE49-F238E27FC236}">
                  <a16:creationId xmlns:a16="http://schemas.microsoft.com/office/drawing/2014/main" id="{F238D53C-534A-383D-9E8A-75E0AF2CFB6B}"/>
                </a:ext>
              </a:extLst>
            </p:cNvPr>
            <p:cNvSpPr txBox="1"/>
            <p:nvPr/>
          </p:nvSpPr>
          <p:spPr>
            <a:xfrm>
              <a:off x="881379" y="2084368"/>
              <a:ext cx="3139758" cy="27328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grpSp>
      <p:grpSp>
        <p:nvGrpSpPr>
          <p:cNvPr id="29" name="Grupo 28">
            <a:extLst>
              <a:ext uri="{FF2B5EF4-FFF2-40B4-BE49-F238E27FC236}">
                <a16:creationId xmlns:a16="http://schemas.microsoft.com/office/drawing/2014/main" id="{42A947A3-6D18-167B-F78A-AE7643EE95F5}"/>
              </a:ext>
            </a:extLst>
          </p:cNvPr>
          <p:cNvGrpSpPr/>
          <p:nvPr/>
        </p:nvGrpSpPr>
        <p:grpSpPr>
          <a:xfrm>
            <a:off x="510761" y="5028315"/>
            <a:ext cx="3308519" cy="1281744"/>
            <a:chOff x="566601" y="4679528"/>
            <a:chExt cx="3308519" cy="1540315"/>
          </a:xfrm>
        </p:grpSpPr>
        <p:sp>
          <p:nvSpPr>
            <p:cNvPr id="30" name="TextBox 8">
              <a:extLst>
                <a:ext uri="{FF2B5EF4-FFF2-40B4-BE49-F238E27FC236}">
                  <a16:creationId xmlns:a16="http://schemas.microsoft.com/office/drawing/2014/main" id="{9FA7FA2E-118A-43E4-035E-D645138B4497}"/>
                </a:ext>
              </a:extLst>
            </p:cNvPr>
            <p:cNvSpPr txBox="1"/>
            <p:nvPr/>
          </p:nvSpPr>
          <p:spPr>
            <a:xfrm>
              <a:off x="566601" y="5436269"/>
              <a:ext cx="3139758" cy="25890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31" name="TextBox 9">
              <a:extLst>
                <a:ext uri="{FF2B5EF4-FFF2-40B4-BE49-F238E27FC236}">
                  <a16:creationId xmlns:a16="http://schemas.microsoft.com/office/drawing/2014/main" id="{A06E08F5-9992-33B0-44B4-3EBEC813975A}"/>
                </a:ext>
              </a:extLst>
            </p:cNvPr>
            <p:cNvSpPr txBox="1"/>
            <p:nvPr/>
          </p:nvSpPr>
          <p:spPr>
            <a:xfrm>
              <a:off x="566601" y="5718620"/>
              <a:ext cx="3139758" cy="20342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cxnSp>
          <p:nvCxnSpPr>
            <p:cNvPr id="32" name="Straight Connector 106">
              <a:extLst>
                <a:ext uri="{FF2B5EF4-FFF2-40B4-BE49-F238E27FC236}">
                  <a16:creationId xmlns:a16="http://schemas.microsoft.com/office/drawing/2014/main" id="{23CFCBE8-EA97-E150-466F-60CECE5A1647}"/>
                </a:ext>
              </a:extLst>
            </p:cNvPr>
            <p:cNvCxnSpPr>
              <a:cxnSpLocks/>
            </p:cNvCxnSpPr>
            <p:nvPr/>
          </p:nvCxnSpPr>
          <p:spPr>
            <a:xfrm flipV="1">
              <a:off x="3875120" y="4679528"/>
              <a:ext cx="0" cy="1540315"/>
            </a:xfrm>
            <a:prstGeom prst="line">
              <a:avLst/>
            </a:prstGeom>
            <a:noFill/>
            <a:ln w="6350" cap="flat" cmpd="sng" algn="ctr">
              <a:solidFill>
                <a:sysClr val="windowText" lastClr="000000"/>
              </a:solidFill>
              <a:prstDash val="solid"/>
              <a:miter lim="800000"/>
              <a:tailEnd type="none"/>
            </a:ln>
            <a:effectLst/>
          </p:spPr>
        </p:cxnSp>
      </p:grpSp>
      <p:pic>
        <p:nvPicPr>
          <p:cNvPr id="33" name="Marcador de posición de imagen 19">
            <a:extLst>
              <a:ext uri="{FF2B5EF4-FFF2-40B4-BE49-F238E27FC236}">
                <a16:creationId xmlns:a16="http://schemas.microsoft.com/office/drawing/2014/main" id="{EC938636-3C4D-97E6-8ACD-BA2158E9810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1249501" y="4019888"/>
            <a:ext cx="521494" cy="521494"/>
          </a:xfrm>
          <a:prstGeom prst="rect">
            <a:avLst/>
          </a:prstGeom>
        </p:spPr>
      </p:pic>
      <p:pic>
        <p:nvPicPr>
          <p:cNvPr id="36" name="Marcador de posición de imagen 19">
            <a:extLst>
              <a:ext uri="{FF2B5EF4-FFF2-40B4-BE49-F238E27FC236}">
                <a16:creationId xmlns:a16="http://schemas.microsoft.com/office/drawing/2014/main" id="{6B1098FE-3265-8323-55B9-07E9907367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3129025" y="3997766"/>
            <a:ext cx="521494" cy="521494"/>
          </a:xfrm>
          <a:prstGeom prst="rect">
            <a:avLst/>
          </a:prstGeom>
        </p:spPr>
      </p:pic>
      <p:pic>
        <p:nvPicPr>
          <p:cNvPr id="37" name="Marcador de posición de imagen 19">
            <a:extLst>
              <a:ext uri="{FF2B5EF4-FFF2-40B4-BE49-F238E27FC236}">
                <a16:creationId xmlns:a16="http://schemas.microsoft.com/office/drawing/2014/main" id="{63F7D635-3013-7C9E-1440-9741956419F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4992726" y="3997766"/>
            <a:ext cx="521494" cy="521494"/>
          </a:xfrm>
          <a:prstGeom prst="rect">
            <a:avLst/>
          </a:prstGeom>
        </p:spPr>
      </p:pic>
      <p:pic>
        <p:nvPicPr>
          <p:cNvPr id="38" name="Marcador de posición de imagen 19">
            <a:extLst>
              <a:ext uri="{FF2B5EF4-FFF2-40B4-BE49-F238E27FC236}">
                <a16:creationId xmlns:a16="http://schemas.microsoft.com/office/drawing/2014/main" id="{66654399-5646-3BBC-DBEF-07938B73C44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6793605" y="3997766"/>
            <a:ext cx="521494" cy="521494"/>
          </a:xfrm>
          <a:prstGeom prst="rect">
            <a:avLst/>
          </a:prstGeom>
        </p:spPr>
      </p:pic>
      <p:pic>
        <p:nvPicPr>
          <p:cNvPr id="39" name="Marcador de posición de imagen 19">
            <a:extLst>
              <a:ext uri="{FF2B5EF4-FFF2-40B4-BE49-F238E27FC236}">
                <a16:creationId xmlns:a16="http://schemas.microsoft.com/office/drawing/2014/main" id="{38E40FBC-4895-D525-7791-2435563B012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8685226" y="3997766"/>
            <a:ext cx="521494" cy="521494"/>
          </a:xfrm>
          <a:prstGeom prst="rect">
            <a:avLst/>
          </a:prstGeom>
        </p:spPr>
      </p:pic>
      <p:pic>
        <p:nvPicPr>
          <p:cNvPr id="40" name="Marcador de posición de imagen 19">
            <a:extLst>
              <a:ext uri="{FF2B5EF4-FFF2-40B4-BE49-F238E27FC236}">
                <a16:creationId xmlns:a16="http://schemas.microsoft.com/office/drawing/2014/main" id="{B578AD92-FCED-E65A-7C1D-F83D6E9D397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rcRect t="152" b="152"/>
          <a:stretch>
            <a:fillRect/>
          </a:stretch>
        </p:blipFill>
        <p:spPr>
          <a:xfrm>
            <a:off x="10486105" y="3997766"/>
            <a:ext cx="521494" cy="521494"/>
          </a:xfrm>
          <a:prstGeom prst="rect">
            <a:avLst/>
          </a:prstGeom>
        </p:spPr>
      </p:pic>
      <p:grpSp>
        <p:nvGrpSpPr>
          <p:cNvPr id="41" name="Grupo 40">
            <a:extLst>
              <a:ext uri="{FF2B5EF4-FFF2-40B4-BE49-F238E27FC236}">
                <a16:creationId xmlns:a16="http://schemas.microsoft.com/office/drawing/2014/main" id="{2B9262C1-87F7-9050-C525-39E5F6E9B925}"/>
              </a:ext>
            </a:extLst>
          </p:cNvPr>
          <p:cNvGrpSpPr/>
          <p:nvPr/>
        </p:nvGrpSpPr>
        <p:grpSpPr>
          <a:xfrm>
            <a:off x="4595346" y="2635718"/>
            <a:ext cx="3299777" cy="954107"/>
            <a:chOff x="721360" y="1700724"/>
            <a:chExt cx="3299777" cy="1540316"/>
          </a:xfrm>
        </p:grpSpPr>
        <p:cxnSp>
          <p:nvCxnSpPr>
            <p:cNvPr id="42" name="Straight Connector 77">
              <a:extLst>
                <a:ext uri="{FF2B5EF4-FFF2-40B4-BE49-F238E27FC236}">
                  <a16:creationId xmlns:a16="http://schemas.microsoft.com/office/drawing/2014/main" id="{012915F9-7E0C-1066-EABB-39C06829159D}"/>
                </a:ext>
              </a:extLst>
            </p:cNvPr>
            <p:cNvCxnSpPr>
              <a:cxnSpLocks/>
            </p:cNvCxnSpPr>
            <p:nvPr/>
          </p:nvCxnSpPr>
          <p:spPr>
            <a:xfrm flipV="1">
              <a:off x="721360" y="1700725"/>
              <a:ext cx="0" cy="1540315"/>
            </a:xfrm>
            <a:prstGeom prst="line">
              <a:avLst/>
            </a:prstGeom>
            <a:noFill/>
            <a:ln w="6350" cap="flat" cmpd="sng" algn="ctr">
              <a:solidFill>
                <a:sysClr val="windowText" lastClr="000000"/>
              </a:solidFill>
              <a:prstDash val="solid"/>
              <a:miter lim="800000"/>
              <a:tailEnd type="none"/>
            </a:ln>
            <a:effectLst/>
          </p:spPr>
        </p:cxnSp>
        <p:sp>
          <p:nvSpPr>
            <p:cNvPr id="43" name="TextBox 10">
              <a:extLst>
                <a:ext uri="{FF2B5EF4-FFF2-40B4-BE49-F238E27FC236}">
                  <a16:creationId xmlns:a16="http://schemas.microsoft.com/office/drawing/2014/main" id="{DB88E9C6-C60D-ED37-03A0-22269E43A33E}"/>
                </a:ext>
              </a:extLst>
            </p:cNvPr>
            <p:cNvSpPr txBox="1"/>
            <p:nvPr/>
          </p:nvSpPr>
          <p:spPr>
            <a:xfrm>
              <a:off x="881379" y="1700724"/>
              <a:ext cx="3139758" cy="3478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44" name="TextBox 11">
              <a:extLst>
                <a:ext uri="{FF2B5EF4-FFF2-40B4-BE49-F238E27FC236}">
                  <a16:creationId xmlns:a16="http://schemas.microsoft.com/office/drawing/2014/main" id="{06DCDF92-E8D9-B615-F535-AD064C3290AD}"/>
                </a:ext>
              </a:extLst>
            </p:cNvPr>
            <p:cNvSpPr txBox="1"/>
            <p:nvPr/>
          </p:nvSpPr>
          <p:spPr>
            <a:xfrm>
              <a:off x="881379" y="2084368"/>
              <a:ext cx="3139758" cy="27328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grpSp>
      <p:grpSp>
        <p:nvGrpSpPr>
          <p:cNvPr id="45" name="Grupo 44">
            <a:extLst>
              <a:ext uri="{FF2B5EF4-FFF2-40B4-BE49-F238E27FC236}">
                <a16:creationId xmlns:a16="http://schemas.microsoft.com/office/drawing/2014/main" id="{3D8877BA-94D8-A7C3-4FAE-AC638E7E6E46}"/>
              </a:ext>
            </a:extLst>
          </p:cNvPr>
          <p:cNvGrpSpPr/>
          <p:nvPr/>
        </p:nvGrpSpPr>
        <p:grpSpPr>
          <a:xfrm>
            <a:off x="8204085" y="2635718"/>
            <a:ext cx="3299777" cy="954107"/>
            <a:chOff x="721360" y="1700724"/>
            <a:chExt cx="3299777" cy="1540316"/>
          </a:xfrm>
        </p:grpSpPr>
        <p:cxnSp>
          <p:nvCxnSpPr>
            <p:cNvPr id="46" name="Straight Connector 77">
              <a:extLst>
                <a:ext uri="{FF2B5EF4-FFF2-40B4-BE49-F238E27FC236}">
                  <a16:creationId xmlns:a16="http://schemas.microsoft.com/office/drawing/2014/main" id="{C72FD678-D15E-57F0-C2ED-CFEF0B3B9934}"/>
                </a:ext>
              </a:extLst>
            </p:cNvPr>
            <p:cNvCxnSpPr>
              <a:cxnSpLocks/>
            </p:cNvCxnSpPr>
            <p:nvPr/>
          </p:nvCxnSpPr>
          <p:spPr>
            <a:xfrm flipV="1">
              <a:off x="721360" y="1700725"/>
              <a:ext cx="0" cy="1540315"/>
            </a:xfrm>
            <a:prstGeom prst="line">
              <a:avLst/>
            </a:prstGeom>
            <a:noFill/>
            <a:ln w="6350" cap="flat" cmpd="sng" algn="ctr">
              <a:solidFill>
                <a:sysClr val="windowText" lastClr="000000"/>
              </a:solidFill>
              <a:prstDash val="solid"/>
              <a:miter lim="800000"/>
              <a:tailEnd type="none"/>
            </a:ln>
            <a:effectLst/>
          </p:spPr>
        </p:cxnSp>
        <p:sp>
          <p:nvSpPr>
            <p:cNvPr id="47" name="TextBox 10">
              <a:extLst>
                <a:ext uri="{FF2B5EF4-FFF2-40B4-BE49-F238E27FC236}">
                  <a16:creationId xmlns:a16="http://schemas.microsoft.com/office/drawing/2014/main" id="{F764B6A6-A576-49AC-996A-753D7D47F890}"/>
                </a:ext>
              </a:extLst>
            </p:cNvPr>
            <p:cNvSpPr txBox="1"/>
            <p:nvPr/>
          </p:nvSpPr>
          <p:spPr>
            <a:xfrm>
              <a:off x="881379" y="1700724"/>
              <a:ext cx="3139758" cy="3478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48" name="TextBox 11">
              <a:extLst>
                <a:ext uri="{FF2B5EF4-FFF2-40B4-BE49-F238E27FC236}">
                  <a16:creationId xmlns:a16="http://schemas.microsoft.com/office/drawing/2014/main" id="{C4F84F55-0F5B-C376-D65D-B717647F5F97}"/>
                </a:ext>
              </a:extLst>
            </p:cNvPr>
            <p:cNvSpPr txBox="1"/>
            <p:nvPr/>
          </p:nvSpPr>
          <p:spPr>
            <a:xfrm>
              <a:off x="881379" y="2084368"/>
              <a:ext cx="3139758" cy="27328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grpSp>
      <p:grpSp>
        <p:nvGrpSpPr>
          <p:cNvPr id="49" name="Grupo 48">
            <a:extLst>
              <a:ext uri="{FF2B5EF4-FFF2-40B4-BE49-F238E27FC236}">
                <a16:creationId xmlns:a16="http://schemas.microsoft.com/office/drawing/2014/main" id="{B22C412F-531C-5AE9-EECB-7E452F4C3222}"/>
              </a:ext>
            </a:extLst>
          </p:cNvPr>
          <p:cNvGrpSpPr/>
          <p:nvPr/>
        </p:nvGrpSpPr>
        <p:grpSpPr>
          <a:xfrm>
            <a:off x="4175341" y="5028315"/>
            <a:ext cx="3301539" cy="1281744"/>
            <a:chOff x="573581" y="4679528"/>
            <a:chExt cx="3301539" cy="1540315"/>
          </a:xfrm>
        </p:grpSpPr>
        <p:sp>
          <p:nvSpPr>
            <p:cNvPr id="50" name="TextBox 8">
              <a:extLst>
                <a:ext uri="{FF2B5EF4-FFF2-40B4-BE49-F238E27FC236}">
                  <a16:creationId xmlns:a16="http://schemas.microsoft.com/office/drawing/2014/main" id="{5104670D-AC4F-BD5D-F1DC-9CE88FD59CCB}"/>
                </a:ext>
              </a:extLst>
            </p:cNvPr>
            <p:cNvSpPr txBox="1"/>
            <p:nvPr/>
          </p:nvSpPr>
          <p:spPr>
            <a:xfrm>
              <a:off x="573581" y="5436269"/>
              <a:ext cx="3139758" cy="25890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51" name="TextBox 9">
              <a:extLst>
                <a:ext uri="{FF2B5EF4-FFF2-40B4-BE49-F238E27FC236}">
                  <a16:creationId xmlns:a16="http://schemas.microsoft.com/office/drawing/2014/main" id="{2319FE9E-E22A-A2F4-3BEF-D1333A3354EF}"/>
                </a:ext>
              </a:extLst>
            </p:cNvPr>
            <p:cNvSpPr txBox="1"/>
            <p:nvPr/>
          </p:nvSpPr>
          <p:spPr>
            <a:xfrm>
              <a:off x="573581" y="5718620"/>
              <a:ext cx="3139758" cy="20342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cxnSp>
          <p:nvCxnSpPr>
            <p:cNvPr id="52" name="Straight Connector 106">
              <a:extLst>
                <a:ext uri="{FF2B5EF4-FFF2-40B4-BE49-F238E27FC236}">
                  <a16:creationId xmlns:a16="http://schemas.microsoft.com/office/drawing/2014/main" id="{996F68E5-7847-4282-C4F8-1FEB99C4145B}"/>
                </a:ext>
              </a:extLst>
            </p:cNvPr>
            <p:cNvCxnSpPr>
              <a:cxnSpLocks/>
            </p:cNvCxnSpPr>
            <p:nvPr/>
          </p:nvCxnSpPr>
          <p:spPr>
            <a:xfrm flipV="1">
              <a:off x="3875120" y="4679528"/>
              <a:ext cx="0" cy="1540315"/>
            </a:xfrm>
            <a:prstGeom prst="line">
              <a:avLst/>
            </a:prstGeom>
            <a:noFill/>
            <a:ln w="6350" cap="flat" cmpd="sng" algn="ctr">
              <a:solidFill>
                <a:sysClr val="windowText" lastClr="000000"/>
              </a:solidFill>
              <a:prstDash val="solid"/>
              <a:miter lim="800000"/>
              <a:tailEnd type="none"/>
            </a:ln>
            <a:effectLst/>
          </p:spPr>
        </p:cxnSp>
      </p:grpSp>
      <p:grpSp>
        <p:nvGrpSpPr>
          <p:cNvPr id="53" name="Grupo 52">
            <a:extLst>
              <a:ext uri="{FF2B5EF4-FFF2-40B4-BE49-F238E27FC236}">
                <a16:creationId xmlns:a16="http://schemas.microsoft.com/office/drawing/2014/main" id="{68C5F6C7-F03F-41C9-C113-BA906FBC43D7}"/>
              </a:ext>
            </a:extLst>
          </p:cNvPr>
          <p:cNvGrpSpPr/>
          <p:nvPr/>
        </p:nvGrpSpPr>
        <p:grpSpPr>
          <a:xfrm>
            <a:off x="8049324" y="5028315"/>
            <a:ext cx="3301540" cy="1281744"/>
            <a:chOff x="573580" y="4679528"/>
            <a:chExt cx="3301540" cy="1540315"/>
          </a:xfrm>
        </p:grpSpPr>
        <p:sp>
          <p:nvSpPr>
            <p:cNvPr id="54" name="TextBox 8">
              <a:extLst>
                <a:ext uri="{FF2B5EF4-FFF2-40B4-BE49-F238E27FC236}">
                  <a16:creationId xmlns:a16="http://schemas.microsoft.com/office/drawing/2014/main" id="{308F5D7E-7EAC-E50C-98CE-A611D6EE394A}"/>
                </a:ext>
              </a:extLst>
            </p:cNvPr>
            <p:cNvSpPr txBox="1"/>
            <p:nvPr/>
          </p:nvSpPr>
          <p:spPr>
            <a:xfrm>
              <a:off x="573580" y="5436269"/>
              <a:ext cx="3139758" cy="25890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u="none" strike="noStrike" kern="0" cap="none" spc="0" normalizeH="0" baseline="0" noProof="0">
                  <a:ln>
                    <a:noFill/>
                  </a:ln>
                  <a:solidFill>
                    <a:prstClr val="black"/>
                  </a:solidFill>
                  <a:effectLst/>
                  <a:uLnTx/>
                  <a:uFillTx/>
                  <a:latin typeface="Arial Narrow" panose="020B0604020202020204" pitchFamily="34" charset="0"/>
                  <a:sym typeface=""/>
                </a:rPr>
                <a:t>TEXT</a:t>
              </a:r>
            </a:p>
          </p:txBody>
        </p:sp>
        <p:sp>
          <p:nvSpPr>
            <p:cNvPr id="55" name="TextBox 9">
              <a:extLst>
                <a:ext uri="{FF2B5EF4-FFF2-40B4-BE49-F238E27FC236}">
                  <a16:creationId xmlns:a16="http://schemas.microsoft.com/office/drawing/2014/main" id="{329DE20B-068C-9AC8-DC29-E018E39CC2A0}"/>
                </a:ext>
              </a:extLst>
            </p:cNvPr>
            <p:cNvSpPr txBox="1"/>
            <p:nvPr/>
          </p:nvSpPr>
          <p:spPr>
            <a:xfrm>
              <a:off x="573580" y="5718620"/>
              <a:ext cx="3139758" cy="20342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u="none" strike="noStrike" kern="0" cap="none" spc="0" normalizeH="0" baseline="0" noProof="0">
                  <a:ln>
                    <a:noFill/>
                  </a:ln>
                  <a:solidFill>
                    <a:prstClr val="black"/>
                  </a:solidFill>
                  <a:effectLst/>
                  <a:uLnTx/>
                  <a:uFillTx/>
                  <a:latin typeface="Arial" panose="020B0604020202020204" pitchFamily="34" charset="0"/>
                  <a:sym typeface=""/>
                </a:rPr>
                <a:t>Text</a:t>
              </a:r>
            </a:p>
          </p:txBody>
        </p:sp>
        <p:cxnSp>
          <p:nvCxnSpPr>
            <p:cNvPr id="56" name="Straight Connector 106">
              <a:extLst>
                <a:ext uri="{FF2B5EF4-FFF2-40B4-BE49-F238E27FC236}">
                  <a16:creationId xmlns:a16="http://schemas.microsoft.com/office/drawing/2014/main" id="{DFA8087C-C7AD-9FCF-F183-FD7BD6BDD388}"/>
                </a:ext>
              </a:extLst>
            </p:cNvPr>
            <p:cNvCxnSpPr>
              <a:cxnSpLocks/>
            </p:cNvCxnSpPr>
            <p:nvPr/>
          </p:nvCxnSpPr>
          <p:spPr>
            <a:xfrm flipV="1">
              <a:off x="3875120" y="4679528"/>
              <a:ext cx="0" cy="1540315"/>
            </a:xfrm>
            <a:prstGeom prst="line">
              <a:avLst/>
            </a:prstGeom>
            <a:noFill/>
            <a:ln w="6350" cap="flat" cmpd="sng" algn="ctr">
              <a:solidFill>
                <a:sysClr val="windowText" lastClr="000000"/>
              </a:solidFill>
              <a:prstDash val="solid"/>
              <a:miter lim="800000"/>
              <a:tailEnd type="none"/>
            </a:ln>
            <a:effectLst/>
          </p:spPr>
        </p:cxnSp>
      </p:grpSp>
    </p:spTree>
    <p:extLst>
      <p:ext uri="{BB962C8B-B14F-4D97-AF65-F5344CB8AC3E}">
        <p14:creationId xmlns:p14="http://schemas.microsoft.com/office/powerpoint/2010/main" val="1531902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8781718-1BCE-1C6F-A45B-E0F818D2BE54}"/>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7B0A726F-CCDF-DF49-9418-3DF23E0650CE}"/>
              </a:ext>
            </a:extLst>
          </p:cNvPr>
          <p:cNvSpPr>
            <a:spLocks noGrp="1"/>
          </p:cNvSpPr>
          <p:nvPr>
            <p:ph type="ftr" sz="quarter" idx="11"/>
          </p:nvPr>
        </p:nvSpPr>
        <p:spPr>
          <a:xfrm>
            <a:off x="7850103" y="7596753"/>
            <a:ext cx="2205958" cy="365125"/>
          </a:xfrm>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42E8BF82-EB53-5DA6-80F4-C7D9152EC092}"/>
              </a:ext>
            </a:extLst>
          </p:cNvPr>
          <p:cNvSpPr>
            <a:spLocks noGrp="1"/>
          </p:cNvSpPr>
          <p:nvPr>
            <p:ph type="sldNum" sz="quarter" idx="12"/>
          </p:nvPr>
        </p:nvSpPr>
        <p:spPr>
          <a:xfrm>
            <a:off x="10079113" y="7596753"/>
            <a:ext cx="980356" cy="365125"/>
          </a:xfrm>
        </p:spPr>
        <p:txBody>
          <a:bodyPr/>
          <a:lstStyle/>
          <a:p>
            <a:fld id="{FF2CED2D-DE01-CB40-AEF5-C9DD7CD06225}" type="slidenum">
              <a:rPr lang="es-ES" smtClean="0"/>
              <a:pPr/>
              <a:t>58</a:t>
            </a:fld>
            <a:endParaRPr lang="es-ES"/>
          </a:p>
        </p:txBody>
      </p:sp>
      <p:sp>
        <p:nvSpPr>
          <p:cNvPr id="6" name="CuadroTexto 5">
            <a:extLst>
              <a:ext uri="{FF2B5EF4-FFF2-40B4-BE49-F238E27FC236}">
                <a16:creationId xmlns:a16="http://schemas.microsoft.com/office/drawing/2014/main" id="{B2BBC3E6-9D8B-9E34-8049-AB3AD6E5E026}"/>
              </a:ext>
            </a:extLst>
          </p:cNvPr>
          <p:cNvSpPr txBox="1"/>
          <p:nvPr/>
        </p:nvSpPr>
        <p:spPr>
          <a:xfrm>
            <a:off x="531333" y="2161618"/>
            <a:ext cx="3956000" cy="738664"/>
          </a:xfrm>
          <a:prstGeom prst="rect">
            <a:avLst/>
          </a:prstGeom>
          <a:noFill/>
        </p:spPr>
        <p:txBody>
          <a:bodyPr wrap="square">
            <a:spAutoFit/>
          </a:bodyPr>
          <a:lstStyle/>
          <a:p>
            <a:r>
              <a:rPr lang="es-ES" sz="1400" err="1">
                <a:solidFill>
                  <a:prstClr val="white"/>
                </a:solidFill>
                <a:latin typeface="Arial" panose="020B0604020202020204" pitchFamily="34" charset="0"/>
              </a:rPr>
              <a:t>Porem</a:t>
            </a:r>
            <a:r>
              <a:rPr lang="es-ES" sz="1400">
                <a:solidFill>
                  <a:prstClr val="white"/>
                </a:solidFill>
                <a:latin typeface="Arial" panose="020B0604020202020204" pitchFamily="34" charset="0"/>
              </a:rPr>
              <a:t> ipsum dolor </a:t>
            </a:r>
            <a:r>
              <a:rPr lang="es-ES" sz="1400" err="1">
                <a:solidFill>
                  <a:prstClr val="white"/>
                </a:solidFill>
                <a:latin typeface="Arial" panose="020B0604020202020204" pitchFamily="34" charset="0"/>
              </a:rPr>
              <a:t>sit</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amete</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consectetuer </a:t>
            </a:r>
            <a:r>
              <a:rPr lang="es-ES" sz="1400" err="1">
                <a:solidFill>
                  <a:prstClr val="white"/>
                </a:solidFill>
                <a:latin typeface="Arial" panose="020B0604020202020204" pitchFamily="34" charset="0"/>
              </a:rPr>
              <a:t>adipiscing</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ut </a:t>
            </a:r>
            <a:r>
              <a:rPr lang="es-ES" sz="1400" err="1">
                <a:solidFill>
                  <a:prstClr val="white"/>
                </a:solidFill>
                <a:latin typeface="Arial" panose="020B0604020202020204" pitchFamily="34" charset="0"/>
              </a:rPr>
              <a:t>adipiscing</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sed </a:t>
            </a:r>
            <a:r>
              <a:rPr lang="es-ES" sz="1400" err="1">
                <a:solidFill>
                  <a:prstClr val="white"/>
                </a:solidFill>
                <a:latin typeface="Arial" panose="020B0604020202020204" pitchFamily="34" charset="0"/>
              </a:rPr>
              <a:t>diam</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nonummy</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nibh</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uismo</a:t>
            </a:r>
            <a:r>
              <a:rPr lang="es-ES" sz="1400">
                <a:solidFill>
                  <a:prstClr val="white"/>
                </a:solidFill>
                <a:latin typeface="Arial" panose="020B0604020202020204" pitchFamily="34" charset="0"/>
              </a:rPr>
              <a:t>.</a:t>
            </a:r>
          </a:p>
        </p:txBody>
      </p:sp>
      <p:sp>
        <p:nvSpPr>
          <p:cNvPr id="7" name="CuadroTexto 6">
            <a:extLst>
              <a:ext uri="{FF2B5EF4-FFF2-40B4-BE49-F238E27FC236}">
                <a16:creationId xmlns:a16="http://schemas.microsoft.com/office/drawing/2014/main" id="{F53EE2C7-3FEF-DE49-23D1-5F28833286B7}"/>
              </a:ext>
            </a:extLst>
          </p:cNvPr>
          <p:cNvSpPr txBox="1"/>
          <p:nvPr/>
        </p:nvSpPr>
        <p:spPr>
          <a:xfrm>
            <a:off x="531333" y="1841756"/>
            <a:ext cx="3371364" cy="400110"/>
          </a:xfrm>
          <a:prstGeom prst="rect">
            <a:avLst/>
          </a:prstGeom>
          <a:noFill/>
        </p:spPr>
        <p:txBody>
          <a:bodyPr wrap="square">
            <a:spAutoFit/>
          </a:bodyPr>
          <a:lstStyle/>
          <a:p>
            <a:r>
              <a:rPr lang="es-ES" sz="2000" b="1">
                <a:solidFill>
                  <a:prstClr val="white"/>
                </a:solidFill>
                <a:latin typeface="Arial Narrow" panose="020B0604020202020204" pitchFamily="34" charset="0"/>
              </a:rPr>
              <a:t>SPAIN</a:t>
            </a:r>
            <a:endParaRPr lang="es-ES" sz="3600" b="1">
              <a:solidFill>
                <a:prstClr val="white"/>
              </a:solidFill>
              <a:latin typeface="Arial Narrow" panose="020B0604020202020204" pitchFamily="34" charset="0"/>
            </a:endParaRPr>
          </a:p>
        </p:txBody>
      </p:sp>
      <p:sp>
        <p:nvSpPr>
          <p:cNvPr id="8" name="CuadroTexto 7">
            <a:extLst>
              <a:ext uri="{FF2B5EF4-FFF2-40B4-BE49-F238E27FC236}">
                <a16:creationId xmlns:a16="http://schemas.microsoft.com/office/drawing/2014/main" id="{727CB764-6038-63E7-E8D9-40FE20847599}"/>
              </a:ext>
            </a:extLst>
          </p:cNvPr>
          <p:cNvSpPr txBox="1"/>
          <p:nvPr/>
        </p:nvSpPr>
        <p:spPr>
          <a:xfrm>
            <a:off x="531333" y="3068689"/>
            <a:ext cx="3371364" cy="400110"/>
          </a:xfrm>
          <a:prstGeom prst="rect">
            <a:avLst/>
          </a:prstGeom>
          <a:noFill/>
        </p:spPr>
        <p:txBody>
          <a:bodyPr wrap="square">
            <a:spAutoFit/>
          </a:bodyPr>
          <a:lstStyle/>
          <a:p>
            <a:r>
              <a:rPr lang="es-ES" sz="2000" b="1">
                <a:solidFill>
                  <a:prstClr val="white"/>
                </a:solidFill>
                <a:latin typeface="Arial Narrow" panose="020B0604020202020204" pitchFamily="34" charset="0"/>
              </a:rPr>
              <a:t>UK</a:t>
            </a:r>
            <a:endParaRPr lang="es-ES" sz="3600" b="1">
              <a:solidFill>
                <a:prstClr val="white"/>
              </a:solidFill>
              <a:latin typeface="Arial Narrow" panose="020B0604020202020204" pitchFamily="34" charset="0"/>
            </a:endParaRPr>
          </a:p>
        </p:txBody>
      </p:sp>
      <p:sp>
        <p:nvSpPr>
          <p:cNvPr id="11" name="CuadroTexto 10">
            <a:extLst>
              <a:ext uri="{FF2B5EF4-FFF2-40B4-BE49-F238E27FC236}">
                <a16:creationId xmlns:a16="http://schemas.microsoft.com/office/drawing/2014/main" id="{4F5D5961-1574-F711-79C2-60A1FB91540C}"/>
              </a:ext>
            </a:extLst>
          </p:cNvPr>
          <p:cNvSpPr txBox="1"/>
          <p:nvPr/>
        </p:nvSpPr>
        <p:spPr>
          <a:xfrm>
            <a:off x="531333" y="3385642"/>
            <a:ext cx="3956000" cy="738664"/>
          </a:xfrm>
          <a:prstGeom prst="rect">
            <a:avLst/>
          </a:prstGeom>
          <a:noFill/>
        </p:spPr>
        <p:txBody>
          <a:bodyPr wrap="square">
            <a:spAutoFit/>
          </a:bodyPr>
          <a:lstStyle/>
          <a:p>
            <a:r>
              <a:rPr lang="es-ES" sz="1400" err="1">
                <a:solidFill>
                  <a:prstClr val="white"/>
                </a:solidFill>
                <a:latin typeface="Arial" panose="020B0604020202020204" pitchFamily="34" charset="0"/>
              </a:rPr>
              <a:t>Porem</a:t>
            </a:r>
            <a:r>
              <a:rPr lang="es-ES" sz="1400">
                <a:solidFill>
                  <a:prstClr val="white"/>
                </a:solidFill>
                <a:latin typeface="Arial" panose="020B0604020202020204" pitchFamily="34" charset="0"/>
              </a:rPr>
              <a:t> ipsum dolor </a:t>
            </a:r>
            <a:r>
              <a:rPr lang="es-ES" sz="1400" err="1">
                <a:solidFill>
                  <a:prstClr val="white"/>
                </a:solidFill>
                <a:latin typeface="Arial" panose="020B0604020202020204" pitchFamily="34" charset="0"/>
              </a:rPr>
              <a:t>sit</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amete</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consectetuer </a:t>
            </a:r>
            <a:r>
              <a:rPr lang="es-ES" sz="1400" err="1">
                <a:solidFill>
                  <a:prstClr val="white"/>
                </a:solidFill>
                <a:latin typeface="Arial" panose="020B0604020202020204" pitchFamily="34" charset="0"/>
              </a:rPr>
              <a:t>adipiscing</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ut </a:t>
            </a:r>
            <a:r>
              <a:rPr lang="es-ES" sz="1400" err="1">
                <a:solidFill>
                  <a:prstClr val="white"/>
                </a:solidFill>
                <a:latin typeface="Arial" panose="020B0604020202020204" pitchFamily="34" charset="0"/>
              </a:rPr>
              <a:t>adipiscing</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lit</a:t>
            </a:r>
            <a:r>
              <a:rPr lang="es-ES" sz="1400">
                <a:solidFill>
                  <a:prstClr val="white"/>
                </a:solidFill>
                <a:latin typeface="Arial" panose="020B0604020202020204" pitchFamily="34" charset="0"/>
              </a:rPr>
              <a:t>, sed </a:t>
            </a:r>
            <a:r>
              <a:rPr lang="es-ES" sz="1400" err="1">
                <a:solidFill>
                  <a:prstClr val="white"/>
                </a:solidFill>
                <a:latin typeface="Arial" panose="020B0604020202020204" pitchFamily="34" charset="0"/>
              </a:rPr>
              <a:t>diam</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nonummy</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nibh</a:t>
            </a:r>
            <a:r>
              <a:rPr lang="es-ES" sz="1400">
                <a:solidFill>
                  <a:prstClr val="white"/>
                </a:solidFill>
                <a:latin typeface="Arial" panose="020B0604020202020204" pitchFamily="34" charset="0"/>
              </a:rPr>
              <a:t> </a:t>
            </a:r>
            <a:r>
              <a:rPr lang="es-ES" sz="1400" err="1">
                <a:solidFill>
                  <a:prstClr val="white"/>
                </a:solidFill>
                <a:latin typeface="Arial" panose="020B0604020202020204" pitchFamily="34" charset="0"/>
              </a:rPr>
              <a:t>euismo</a:t>
            </a:r>
            <a:r>
              <a:rPr lang="es-ES" sz="1400">
                <a:solidFill>
                  <a:prstClr val="white"/>
                </a:solidFill>
                <a:latin typeface="Arial" panose="020B0604020202020204" pitchFamily="34" charset="0"/>
              </a:rPr>
              <a:t>.</a:t>
            </a:r>
          </a:p>
        </p:txBody>
      </p:sp>
      <p:sp>
        <p:nvSpPr>
          <p:cNvPr id="12" name="Título 15">
            <a:extLst>
              <a:ext uri="{FF2B5EF4-FFF2-40B4-BE49-F238E27FC236}">
                <a16:creationId xmlns:a16="http://schemas.microsoft.com/office/drawing/2014/main" id="{012A7D52-F404-A023-6B6B-DC8375EBA608}"/>
              </a:ext>
            </a:extLst>
          </p:cNvPr>
          <p:cNvSpPr txBox="1">
            <a:spLocks/>
          </p:cNvSpPr>
          <p:nvPr/>
        </p:nvSpPr>
        <p:spPr>
          <a:xfrm>
            <a:off x="531333" y="305337"/>
            <a:ext cx="3677160" cy="103489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s-ES" sz="3200" b="1">
                <a:solidFill>
                  <a:prstClr val="white"/>
                </a:solidFill>
                <a:latin typeface="Arial Narrow" panose="020B0604020202020204" pitchFamily="34" charset="0"/>
              </a:rPr>
              <a:t>TITLE ALWAYS IN CAPITAL LETTERS</a:t>
            </a:r>
          </a:p>
        </p:txBody>
      </p:sp>
      <p:sp>
        <p:nvSpPr>
          <p:cNvPr id="14" name="Freeform 234">
            <a:extLst>
              <a:ext uri="{FF2B5EF4-FFF2-40B4-BE49-F238E27FC236}">
                <a16:creationId xmlns:a16="http://schemas.microsoft.com/office/drawing/2014/main" id="{0F8746C6-84E8-15F6-E611-966AA8BE1BD3}"/>
              </a:ext>
            </a:extLst>
          </p:cNvPr>
          <p:cNvSpPr/>
          <p:nvPr/>
        </p:nvSpPr>
        <p:spPr>
          <a:xfrm>
            <a:off x="9173501" y="5249427"/>
            <a:ext cx="604297" cy="1153118"/>
          </a:xfrm>
          <a:custGeom>
            <a:avLst/>
            <a:gdLst>
              <a:gd name="connsiteX0" fmla="*/ 18300 w 73029"/>
              <a:gd name="connsiteY0" fmla="*/ 33538 h 139354"/>
              <a:gd name="connsiteX1" fmla="*/ 13115 w 73029"/>
              <a:gd name="connsiteY1" fmla="*/ 51941 h 139354"/>
              <a:gd name="connsiteX2" fmla="*/ 1593 w 73029"/>
              <a:gd name="connsiteY2" fmla="*/ 63443 h 139354"/>
              <a:gd name="connsiteX3" fmla="*/ 9083 w 73029"/>
              <a:gd name="connsiteY3" fmla="*/ 81846 h 139354"/>
              <a:gd name="connsiteX4" fmla="*/ 16572 w 73029"/>
              <a:gd name="connsiteY4" fmla="*/ 93347 h 139354"/>
              <a:gd name="connsiteX5" fmla="*/ 29822 w 73029"/>
              <a:gd name="connsiteY5" fmla="*/ 103699 h 139354"/>
              <a:gd name="connsiteX6" fmla="*/ 37888 w 73029"/>
              <a:gd name="connsiteY6" fmla="*/ 134754 h 139354"/>
              <a:gd name="connsiteX7" fmla="*/ 39616 w 73029"/>
              <a:gd name="connsiteY7" fmla="*/ 139355 h 139354"/>
              <a:gd name="connsiteX8" fmla="*/ 47105 w 73029"/>
              <a:gd name="connsiteY8" fmla="*/ 133029 h 139354"/>
              <a:gd name="connsiteX9" fmla="*/ 49986 w 73029"/>
              <a:gd name="connsiteY9" fmla="*/ 119226 h 139354"/>
              <a:gd name="connsiteX10" fmla="*/ 51714 w 73029"/>
              <a:gd name="connsiteY10" fmla="*/ 111750 h 139354"/>
              <a:gd name="connsiteX11" fmla="*/ 64965 w 73029"/>
              <a:gd name="connsiteY11" fmla="*/ 99098 h 139354"/>
              <a:gd name="connsiteX12" fmla="*/ 72454 w 73029"/>
              <a:gd name="connsiteY12" fmla="*/ 93923 h 139354"/>
              <a:gd name="connsiteX13" fmla="*/ 73030 w 73029"/>
              <a:gd name="connsiteY13" fmla="*/ 84721 h 139354"/>
              <a:gd name="connsiteX14" fmla="*/ 66117 w 73029"/>
              <a:gd name="connsiteY14" fmla="*/ 77245 h 139354"/>
              <a:gd name="connsiteX15" fmla="*/ 58627 w 73029"/>
              <a:gd name="connsiteY15" fmla="*/ 71494 h 139354"/>
              <a:gd name="connsiteX16" fmla="*/ 44801 w 73029"/>
              <a:gd name="connsiteY16" fmla="*/ 65743 h 139354"/>
              <a:gd name="connsiteX17" fmla="*/ 58627 w 73029"/>
              <a:gd name="connsiteY17" fmla="*/ 53666 h 139354"/>
              <a:gd name="connsiteX18" fmla="*/ 59204 w 73029"/>
              <a:gd name="connsiteY18" fmla="*/ 30087 h 139354"/>
              <a:gd name="connsiteX19" fmla="*/ 62084 w 73029"/>
              <a:gd name="connsiteY19" fmla="*/ 14560 h 139354"/>
              <a:gd name="connsiteX20" fmla="*/ 59780 w 73029"/>
              <a:gd name="connsiteY20" fmla="*/ 8234 h 139354"/>
              <a:gd name="connsiteX21" fmla="*/ 51714 w 73029"/>
              <a:gd name="connsiteY21" fmla="*/ 5359 h 139354"/>
              <a:gd name="connsiteX22" fmla="*/ 27518 w 73029"/>
              <a:gd name="connsiteY22" fmla="*/ 4208 h 139354"/>
              <a:gd name="connsiteX23" fmla="*/ 18300 w 73029"/>
              <a:gd name="connsiteY23" fmla="*/ 7084 h 139354"/>
              <a:gd name="connsiteX24" fmla="*/ 18300 w 73029"/>
              <a:gd name="connsiteY24" fmla="*/ 33538 h 13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3029" h="139354">
                <a:moveTo>
                  <a:pt x="18300" y="33538"/>
                </a:moveTo>
                <a:cubicBezTo>
                  <a:pt x="22333" y="39864"/>
                  <a:pt x="17148" y="50216"/>
                  <a:pt x="13115" y="51941"/>
                </a:cubicBezTo>
                <a:cubicBezTo>
                  <a:pt x="9083" y="54241"/>
                  <a:pt x="5626" y="63443"/>
                  <a:pt x="1593" y="63443"/>
                </a:cubicBezTo>
                <a:cubicBezTo>
                  <a:pt x="-2439" y="63443"/>
                  <a:pt x="1593" y="78970"/>
                  <a:pt x="9083" y="81846"/>
                </a:cubicBezTo>
                <a:cubicBezTo>
                  <a:pt x="16572" y="84721"/>
                  <a:pt x="16572" y="89897"/>
                  <a:pt x="16572" y="93347"/>
                </a:cubicBezTo>
                <a:cubicBezTo>
                  <a:pt x="16572" y="96223"/>
                  <a:pt x="26942" y="99673"/>
                  <a:pt x="29822" y="103699"/>
                </a:cubicBezTo>
                <a:cubicBezTo>
                  <a:pt x="32703" y="107725"/>
                  <a:pt x="37888" y="127278"/>
                  <a:pt x="37888" y="134754"/>
                </a:cubicBezTo>
                <a:cubicBezTo>
                  <a:pt x="37888" y="136479"/>
                  <a:pt x="38464" y="138204"/>
                  <a:pt x="39616" y="139355"/>
                </a:cubicBezTo>
                <a:cubicBezTo>
                  <a:pt x="42497" y="137629"/>
                  <a:pt x="45377" y="135329"/>
                  <a:pt x="47105" y="133029"/>
                </a:cubicBezTo>
                <a:cubicBezTo>
                  <a:pt x="49410" y="128428"/>
                  <a:pt x="51138" y="120952"/>
                  <a:pt x="49986" y="119226"/>
                </a:cubicBezTo>
                <a:cubicBezTo>
                  <a:pt x="48834" y="116926"/>
                  <a:pt x="49410" y="113476"/>
                  <a:pt x="51714" y="111750"/>
                </a:cubicBezTo>
                <a:cubicBezTo>
                  <a:pt x="54019" y="109450"/>
                  <a:pt x="63236" y="99673"/>
                  <a:pt x="64965" y="99098"/>
                </a:cubicBezTo>
                <a:cubicBezTo>
                  <a:pt x="66693" y="98523"/>
                  <a:pt x="72454" y="99098"/>
                  <a:pt x="72454" y="93923"/>
                </a:cubicBezTo>
                <a:cubicBezTo>
                  <a:pt x="72454" y="91622"/>
                  <a:pt x="72454" y="88172"/>
                  <a:pt x="73030" y="84721"/>
                </a:cubicBezTo>
                <a:cubicBezTo>
                  <a:pt x="68997" y="81846"/>
                  <a:pt x="66117" y="78970"/>
                  <a:pt x="66117" y="77245"/>
                </a:cubicBezTo>
                <a:cubicBezTo>
                  <a:pt x="66117" y="73794"/>
                  <a:pt x="61508" y="68043"/>
                  <a:pt x="58627" y="71494"/>
                </a:cubicBezTo>
                <a:cubicBezTo>
                  <a:pt x="56323" y="74369"/>
                  <a:pt x="45953" y="72069"/>
                  <a:pt x="44801" y="65743"/>
                </a:cubicBezTo>
                <a:cubicBezTo>
                  <a:pt x="43649" y="59417"/>
                  <a:pt x="51138" y="59417"/>
                  <a:pt x="58627" y="53666"/>
                </a:cubicBezTo>
                <a:cubicBezTo>
                  <a:pt x="66117" y="47915"/>
                  <a:pt x="66693" y="36413"/>
                  <a:pt x="59204" y="30087"/>
                </a:cubicBezTo>
                <a:cubicBezTo>
                  <a:pt x="51714" y="23761"/>
                  <a:pt x="56899" y="20311"/>
                  <a:pt x="62084" y="14560"/>
                </a:cubicBezTo>
                <a:cubicBezTo>
                  <a:pt x="67269" y="8809"/>
                  <a:pt x="62660" y="5934"/>
                  <a:pt x="59780" y="8234"/>
                </a:cubicBezTo>
                <a:cubicBezTo>
                  <a:pt x="56899" y="10534"/>
                  <a:pt x="52290" y="11685"/>
                  <a:pt x="51714" y="5359"/>
                </a:cubicBezTo>
                <a:cubicBezTo>
                  <a:pt x="51138" y="-967"/>
                  <a:pt x="33855" y="-2118"/>
                  <a:pt x="27518" y="4208"/>
                </a:cubicBezTo>
                <a:cubicBezTo>
                  <a:pt x="25213" y="6509"/>
                  <a:pt x="21757" y="7084"/>
                  <a:pt x="18300" y="7084"/>
                </a:cubicBezTo>
                <a:cubicBezTo>
                  <a:pt x="16572" y="16860"/>
                  <a:pt x="15420" y="29512"/>
                  <a:pt x="18300" y="33538"/>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5" name="Freeform 235">
            <a:extLst>
              <a:ext uri="{FF2B5EF4-FFF2-40B4-BE49-F238E27FC236}">
                <a16:creationId xmlns:a16="http://schemas.microsoft.com/office/drawing/2014/main" id="{B06B00BE-849B-B402-03A1-6EE7197A22B1}"/>
              </a:ext>
            </a:extLst>
          </p:cNvPr>
          <p:cNvSpPr/>
          <p:nvPr/>
        </p:nvSpPr>
        <p:spPr>
          <a:xfrm>
            <a:off x="6807893" y="5282009"/>
            <a:ext cx="3022353" cy="2890797"/>
          </a:xfrm>
          <a:custGeom>
            <a:avLst/>
            <a:gdLst>
              <a:gd name="connsiteX0" fmla="*/ 126167 w 365249"/>
              <a:gd name="connsiteY0" fmla="*/ 65257 h 349351"/>
              <a:gd name="connsiteX1" fmla="*/ 127319 w 365249"/>
              <a:gd name="connsiteY1" fmla="*/ 81359 h 349351"/>
              <a:gd name="connsiteX2" fmla="*/ 134232 w 365249"/>
              <a:gd name="connsiteY2" fmla="*/ 93436 h 349351"/>
              <a:gd name="connsiteX3" fmla="*/ 130199 w 365249"/>
              <a:gd name="connsiteY3" fmla="*/ 100337 h 349351"/>
              <a:gd name="connsiteX4" fmla="*/ 104275 w 365249"/>
              <a:gd name="connsiteY4" fmla="*/ 101488 h 349351"/>
              <a:gd name="connsiteX5" fmla="*/ 93905 w 365249"/>
              <a:gd name="connsiteY5" fmla="*/ 107813 h 349351"/>
              <a:gd name="connsiteX6" fmla="*/ 88144 w 365249"/>
              <a:gd name="connsiteY6" fmla="*/ 112414 h 349351"/>
              <a:gd name="connsiteX7" fmla="*/ 85839 w 365249"/>
              <a:gd name="connsiteY7" fmla="*/ 123341 h 349351"/>
              <a:gd name="connsiteX8" fmla="*/ 77774 w 365249"/>
              <a:gd name="connsiteY8" fmla="*/ 128517 h 349351"/>
              <a:gd name="connsiteX9" fmla="*/ 64524 w 365249"/>
              <a:gd name="connsiteY9" fmla="*/ 133117 h 349351"/>
              <a:gd name="connsiteX10" fmla="*/ 55306 w 365249"/>
              <a:gd name="connsiteY10" fmla="*/ 143469 h 349351"/>
              <a:gd name="connsiteX11" fmla="*/ 39751 w 365249"/>
              <a:gd name="connsiteY11" fmla="*/ 146920 h 349351"/>
              <a:gd name="connsiteX12" fmla="*/ 28229 w 365249"/>
              <a:gd name="connsiteY12" fmla="*/ 150370 h 349351"/>
              <a:gd name="connsiteX13" fmla="*/ 0 w 365249"/>
              <a:gd name="connsiteY13" fmla="*/ 168773 h 349351"/>
              <a:gd name="connsiteX14" fmla="*/ 576 w 365249"/>
              <a:gd name="connsiteY14" fmla="*/ 192352 h 349351"/>
              <a:gd name="connsiteX15" fmla="*/ 4033 w 365249"/>
              <a:gd name="connsiteY15" fmla="*/ 195227 h 349351"/>
              <a:gd name="connsiteX16" fmla="*/ 173983 w 365249"/>
              <a:gd name="connsiteY16" fmla="*/ 308520 h 349351"/>
              <a:gd name="connsiteX17" fmla="*/ 184929 w 365249"/>
              <a:gd name="connsiteY17" fmla="*/ 324622 h 349351"/>
              <a:gd name="connsiteX18" fmla="*/ 204516 w 365249"/>
              <a:gd name="connsiteY18" fmla="*/ 330948 h 349351"/>
              <a:gd name="connsiteX19" fmla="*/ 213158 w 365249"/>
              <a:gd name="connsiteY19" fmla="*/ 349351 h 349351"/>
              <a:gd name="connsiteX20" fmla="*/ 230441 w 365249"/>
              <a:gd name="connsiteY20" fmla="*/ 345901 h 349351"/>
              <a:gd name="connsiteX21" fmla="*/ 257518 w 365249"/>
              <a:gd name="connsiteY21" fmla="*/ 337274 h 349351"/>
              <a:gd name="connsiteX22" fmla="*/ 289780 w 365249"/>
              <a:gd name="connsiteY22" fmla="*/ 311395 h 349351"/>
              <a:gd name="connsiteX23" fmla="*/ 365249 w 365249"/>
              <a:gd name="connsiteY23" fmla="*/ 264813 h 349351"/>
              <a:gd name="connsiteX24" fmla="*/ 365249 w 365249"/>
              <a:gd name="connsiteY24" fmla="*/ 264813 h 349351"/>
              <a:gd name="connsiteX25" fmla="*/ 356608 w 365249"/>
              <a:gd name="connsiteY25" fmla="*/ 249861 h 349351"/>
              <a:gd name="connsiteX26" fmla="*/ 343933 w 365249"/>
              <a:gd name="connsiteY26" fmla="*/ 245835 h 349351"/>
              <a:gd name="connsiteX27" fmla="*/ 331835 w 365249"/>
              <a:gd name="connsiteY27" fmla="*/ 238934 h 349351"/>
              <a:gd name="connsiteX28" fmla="*/ 330107 w 365249"/>
              <a:gd name="connsiteY28" fmla="*/ 225132 h 349351"/>
              <a:gd name="connsiteX29" fmla="*/ 322618 w 365249"/>
              <a:gd name="connsiteY29" fmla="*/ 214205 h 349351"/>
              <a:gd name="connsiteX30" fmla="*/ 330107 w 365249"/>
              <a:gd name="connsiteY30" fmla="*/ 205579 h 349351"/>
              <a:gd name="connsiteX31" fmla="*/ 327226 w 365249"/>
              <a:gd name="connsiteY31" fmla="*/ 197527 h 349351"/>
              <a:gd name="connsiteX32" fmla="*/ 327226 w 365249"/>
              <a:gd name="connsiteY32" fmla="*/ 186601 h 349351"/>
              <a:gd name="connsiteX33" fmla="*/ 328379 w 365249"/>
              <a:gd name="connsiteY33" fmla="*/ 174524 h 349351"/>
              <a:gd name="connsiteX34" fmla="*/ 328955 w 365249"/>
              <a:gd name="connsiteY34" fmla="*/ 156121 h 349351"/>
              <a:gd name="connsiteX35" fmla="*/ 320889 w 365249"/>
              <a:gd name="connsiteY35" fmla="*/ 140018 h 349351"/>
              <a:gd name="connsiteX36" fmla="*/ 324922 w 365249"/>
              <a:gd name="connsiteY36" fmla="*/ 136568 h 349351"/>
              <a:gd name="connsiteX37" fmla="*/ 323194 w 365249"/>
              <a:gd name="connsiteY37" fmla="*/ 131967 h 349351"/>
              <a:gd name="connsiteX38" fmla="*/ 315128 w 365249"/>
              <a:gd name="connsiteY38" fmla="*/ 100912 h 349351"/>
              <a:gd name="connsiteX39" fmla="*/ 301878 w 365249"/>
              <a:gd name="connsiteY39" fmla="*/ 90561 h 349351"/>
              <a:gd name="connsiteX40" fmla="*/ 294389 w 365249"/>
              <a:gd name="connsiteY40" fmla="*/ 79059 h 349351"/>
              <a:gd name="connsiteX41" fmla="*/ 286899 w 365249"/>
              <a:gd name="connsiteY41" fmla="*/ 60656 h 349351"/>
              <a:gd name="connsiteX42" fmla="*/ 298421 w 365249"/>
              <a:gd name="connsiteY42" fmla="*/ 49154 h 349351"/>
              <a:gd name="connsiteX43" fmla="*/ 303606 w 365249"/>
              <a:gd name="connsiteY43" fmla="*/ 30751 h 349351"/>
              <a:gd name="connsiteX44" fmla="*/ 303606 w 365249"/>
              <a:gd name="connsiteY44" fmla="*/ 3722 h 349351"/>
              <a:gd name="connsiteX45" fmla="*/ 286899 w 365249"/>
              <a:gd name="connsiteY45" fmla="*/ 272 h 349351"/>
              <a:gd name="connsiteX46" fmla="*/ 269040 w 365249"/>
              <a:gd name="connsiteY46" fmla="*/ 1997 h 349351"/>
              <a:gd name="connsiteX47" fmla="*/ 244844 w 365249"/>
              <a:gd name="connsiteY47" fmla="*/ 7173 h 349351"/>
              <a:gd name="connsiteX48" fmla="*/ 179168 w 365249"/>
              <a:gd name="connsiteY48" fmla="*/ 11198 h 349351"/>
              <a:gd name="connsiteX49" fmla="*/ 152091 w 365249"/>
              <a:gd name="connsiteY49" fmla="*/ 25576 h 349351"/>
              <a:gd name="connsiteX50" fmla="*/ 124438 w 365249"/>
              <a:gd name="connsiteY50" fmla="*/ 39953 h 349351"/>
              <a:gd name="connsiteX51" fmla="*/ 118101 w 365249"/>
              <a:gd name="connsiteY51" fmla="*/ 42828 h 349351"/>
              <a:gd name="connsiteX52" fmla="*/ 120982 w 365249"/>
              <a:gd name="connsiteY52" fmla="*/ 48004 h 349351"/>
              <a:gd name="connsiteX53" fmla="*/ 126167 w 365249"/>
              <a:gd name="connsiteY53" fmla="*/ 65257 h 349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65249" h="349351">
                <a:moveTo>
                  <a:pt x="126167" y="65257"/>
                </a:moveTo>
                <a:cubicBezTo>
                  <a:pt x="126167" y="72158"/>
                  <a:pt x="123862" y="80784"/>
                  <a:pt x="127319" y="81359"/>
                </a:cubicBezTo>
                <a:cubicBezTo>
                  <a:pt x="130775" y="81934"/>
                  <a:pt x="133656" y="90561"/>
                  <a:pt x="134232" y="93436"/>
                </a:cubicBezTo>
                <a:cubicBezTo>
                  <a:pt x="134808" y="96312"/>
                  <a:pt x="133656" y="100337"/>
                  <a:pt x="130199" y="100337"/>
                </a:cubicBezTo>
                <a:cubicBezTo>
                  <a:pt x="126743" y="100337"/>
                  <a:pt x="104275" y="98037"/>
                  <a:pt x="104275" y="101488"/>
                </a:cubicBezTo>
                <a:cubicBezTo>
                  <a:pt x="104275" y="104938"/>
                  <a:pt x="99090" y="107813"/>
                  <a:pt x="93905" y="107813"/>
                </a:cubicBezTo>
                <a:cubicBezTo>
                  <a:pt x="88720" y="107813"/>
                  <a:pt x="88720" y="106663"/>
                  <a:pt x="88144" y="112414"/>
                </a:cubicBezTo>
                <a:cubicBezTo>
                  <a:pt x="87568" y="118165"/>
                  <a:pt x="89296" y="123341"/>
                  <a:pt x="85839" y="123341"/>
                </a:cubicBezTo>
                <a:cubicBezTo>
                  <a:pt x="82383" y="123341"/>
                  <a:pt x="82959" y="127942"/>
                  <a:pt x="77774" y="128517"/>
                </a:cubicBezTo>
                <a:cubicBezTo>
                  <a:pt x="72589" y="129092"/>
                  <a:pt x="64524" y="127942"/>
                  <a:pt x="64524" y="133117"/>
                </a:cubicBezTo>
                <a:cubicBezTo>
                  <a:pt x="64524" y="138293"/>
                  <a:pt x="61067" y="142319"/>
                  <a:pt x="55306" y="143469"/>
                </a:cubicBezTo>
                <a:cubicBezTo>
                  <a:pt x="49545" y="144619"/>
                  <a:pt x="39751" y="142319"/>
                  <a:pt x="39751" y="146920"/>
                </a:cubicBezTo>
                <a:cubicBezTo>
                  <a:pt x="39751" y="151520"/>
                  <a:pt x="32262" y="148070"/>
                  <a:pt x="28229" y="150370"/>
                </a:cubicBezTo>
                <a:cubicBezTo>
                  <a:pt x="24196" y="152670"/>
                  <a:pt x="576" y="166473"/>
                  <a:pt x="0" y="168773"/>
                </a:cubicBezTo>
                <a:cubicBezTo>
                  <a:pt x="0" y="169923"/>
                  <a:pt x="0" y="181425"/>
                  <a:pt x="576" y="192352"/>
                </a:cubicBezTo>
                <a:cubicBezTo>
                  <a:pt x="1152" y="193502"/>
                  <a:pt x="2305" y="194652"/>
                  <a:pt x="4033" y="195227"/>
                </a:cubicBezTo>
                <a:cubicBezTo>
                  <a:pt x="12674" y="200403"/>
                  <a:pt x="169374" y="303344"/>
                  <a:pt x="173983" y="308520"/>
                </a:cubicBezTo>
                <a:cubicBezTo>
                  <a:pt x="179168" y="313696"/>
                  <a:pt x="184929" y="324622"/>
                  <a:pt x="184929" y="324622"/>
                </a:cubicBezTo>
                <a:cubicBezTo>
                  <a:pt x="184929" y="324622"/>
                  <a:pt x="195875" y="325773"/>
                  <a:pt x="204516" y="330948"/>
                </a:cubicBezTo>
                <a:cubicBezTo>
                  <a:pt x="213158" y="336124"/>
                  <a:pt x="213158" y="349351"/>
                  <a:pt x="213158" y="349351"/>
                </a:cubicBezTo>
                <a:cubicBezTo>
                  <a:pt x="213158" y="349351"/>
                  <a:pt x="224104" y="347051"/>
                  <a:pt x="230441" y="345901"/>
                </a:cubicBezTo>
                <a:cubicBezTo>
                  <a:pt x="236778" y="344751"/>
                  <a:pt x="257518" y="337274"/>
                  <a:pt x="257518" y="337274"/>
                </a:cubicBezTo>
                <a:lnTo>
                  <a:pt x="289780" y="311395"/>
                </a:lnTo>
                <a:lnTo>
                  <a:pt x="365249" y="264813"/>
                </a:lnTo>
                <a:cubicBezTo>
                  <a:pt x="365249" y="264813"/>
                  <a:pt x="365249" y="264813"/>
                  <a:pt x="365249" y="264813"/>
                </a:cubicBezTo>
                <a:cubicBezTo>
                  <a:pt x="362945" y="256762"/>
                  <a:pt x="360641" y="249861"/>
                  <a:pt x="356608" y="249861"/>
                </a:cubicBezTo>
                <a:cubicBezTo>
                  <a:pt x="351999" y="249861"/>
                  <a:pt x="349118" y="245835"/>
                  <a:pt x="343933" y="245835"/>
                </a:cubicBezTo>
                <a:cubicBezTo>
                  <a:pt x="338748" y="245835"/>
                  <a:pt x="332411" y="243535"/>
                  <a:pt x="331835" y="238934"/>
                </a:cubicBezTo>
                <a:cubicBezTo>
                  <a:pt x="331259" y="234333"/>
                  <a:pt x="333564" y="231458"/>
                  <a:pt x="330107" y="225132"/>
                </a:cubicBezTo>
                <a:cubicBezTo>
                  <a:pt x="326074" y="219381"/>
                  <a:pt x="322618" y="216506"/>
                  <a:pt x="322618" y="214205"/>
                </a:cubicBezTo>
                <a:cubicBezTo>
                  <a:pt x="322618" y="211905"/>
                  <a:pt x="328955" y="206729"/>
                  <a:pt x="330107" y="205579"/>
                </a:cubicBezTo>
                <a:cubicBezTo>
                  <a:pt x="331259" y="204429"/>
                  <a:pt x="327226" y="200403"/>
                  <a:pt x="327226" y="197527"/>
                </a:cubicBezTo>
                <a:cubicBezTo>
                  <a:pt x="327226" y="194652"/>
                  <a:pt x="324922" y="190051"/>
                  <a:pt x="327226" y="186601"/>
                </a:cubicBezTo>
                <a:cubicBezTo>
                  <a:pt x="330107" y="183725"/>
                  <a:pt x="331259" y="180275"/>
                  <a:pt x="328379" y="174524"/>
                </a:cubicBezTo>
                <a:cubicBezTo>
                  <a:pt x="325498" y="168773"/>
                  <a:pt x="332411" y="163597"/>
                  <a:pt x="328955" y="156121"/>
                </a:cubicBezTo>
                <a:cubicBezTo>
                  <a:pt x="325498" y="148645"/>
                  <a:pt x="320313" y="142894"/>
                  <a:pt x="320889" y="140018"/>
                </a:cubicBezTo>
                <a:cubicBezTo>
                  <a:pt x="320889" y="138868"/>
                  <a:pt x="322618" y="137718"/>
                  <a:pt x="324922" y="136568"/>
                </a:cubicBezTo>
                <a:cubicBezTo>
                  <a:pt x="323770" y="135418"/>
                  <a:pt x="323194" y="133692"/>
                  <a:pt x="323194" y="131967"/>
                </a:cubicBezTo>
                <a:cubicBezTo>
                  <a:pt x="323194" y="124491"/>
                  <a:pt x="318009" y="104938"/>
                  <a:pt x="315128" y="100912"/>
                </a:cubicBezTo>
                <a:cubicBezTo>
                  <a:pt x="312248" y="96887"/>
                  <a:pt x="301878" y="93436"/>
                  <a:pt x="301878" y="90561"/>
                </a:cubicBezTo>
                <a:cubicBezTo>
                  <a:pt x="301878" y="87685"/>
                  <a:pt x="301878" y="82509"/>
                  <a:pt x="294389" y="79059"/>
                </a:cubicBezTo>
                <a:cubicBezTo>
                  <a:pt x="286899" y="76183"/>
                  <a:pt x="282867" y="60656"/>
                  <a:pt x="286899" y="60656"/>
                </a:cubicBezTo>
                <a:cubicBezTo>
                  <a:pt x="290932" y="60656"/>
                  <a:pt x="294389" y="51455"/>
                  <a:pt x="298421" y="49154"/>
                </a:cubicBezTo>
                <a:cubicBezTo>
                  <a:pt x="302454" y="46854"/>
                  <a:pt x="307639" y="36502"/>
                  <a:pt x="303606" y="30751"/>
                </a:cubicBezTo>
                <a:cubicBezTo>
                  <a:pt x="300726" y="26726"/>
                  <a:pt x="302454" y="13499"/>
                  <a:pt x="303606" y="3722"/>
                </a:cubicBezTo>
                <a:cubicBezTo>
                  <a:pt x="296693" y="3722"/>
                  <a:pt x="289204" y="1422"/>
                  <a:pt x="286899" y="272"/>
                </a:cubicBezTo>
                <a:cubicBezTo>
                  <a:pt x="284019" y="-879"/>
                  <a:pt x="274801" y="1997"/>
                  <a:pt x="269040" y="1997"/>
                </a:cubicBezTo>
                <a:cubicBezTo>
                  <a:pt x="263279" y="1997"/>
                  <a:pt x="249452" y="11198"/>
                  <a:pt x="244844" y="7173"/>
                </a:cubicBezTo>
                <a:cubicBezTo>
                  <a:pt x="240235" y="2572"/>
                  <a:pt x="192418" y="10623"/>
                  <a:pt x="179168" y="11198"/>
                </a:cubicBezTo>
                <a:cubicBezTo>
                  <a:pt x="165918" y="11773"/>
                  <a:pt x="160156" y="25576"/>
                  <a:pt x="152091" y="25576"/>
                </a:cubicBezTo>
                <a:cubicBezTo>
                  <a:pt x="144026" y="25576"/>
                  <a:pt x="131351" y="32477"/>
                  <a:pt x="124438" y="39953"/>
                </a:cubicBezTo>
                <a:cubicBezTo>
                  <a:pt x="122710" y="42253"/>
                  <a:pt x="120406" y="42828"/>
                  <a:pt x="118101" y="42828"/>
                </a:cubicBezTo>
                <a:cubicBezTo>
                  <a:pt x="119253" y="45129"/>
                  <a:pt x="120406" y="46854"/>
                  <a:pt x="120982" y="48004"/>
                </a:cubicBezTo>
                <a:cubicBezTo>
                  <a:pt x="125014" y="52030"/>
                  <a:pt x="126167" y="58356"/>
                  <a:pt x="126167" y="6525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6" name="Freeform 236">
            <a:extLst>
              <a:ext uri="{FF2B5EF4-FFF2-40B4-BE49-F238E27FC236}">
                <a16:creationId xmlns:a16="http://schemas.microsoft.com/office/drawing/2014/main" id="{3CCD4190-39D8-E177-A637-0E83DACCC049}"/>
              </a:ext>
            </a:extLst>
          </p:cNvPr>
          <p:cNvSpPr/>
          <p:nvPr/>
        </p:nvSpPr>
        <p:spPr>
          <a:xfrm>
            <a:off x="9472352" y="5950469"/>
            <a:ext cx="2188468" cy="2112871"/>
          </a:xfrm>
          <a:custGeom>
            <a:avLst/>
            <a:gdLst>
              <a:gd name="connsiteX0" fmla="*/ 28849 w 264475"/>
              <a:gd name="connsiteY0" fmla="*/ 14377 h 255339"/>
              <a:gd name="connsiteX1" fmla="*/ 15599 w 264475"/>
              <a:gd name="connsiteY1" fmla="*/ 27029 h 255339"/>
              <a:gd name="connsiteX2" fmla="*/ 13870 w 264475"/>
              <a:gd name="connsiteY2" fmla="*/ 34505 h 255339"/>
              <a:gd name="connsiteX3" fmla="*/ 10990 w 264475"/>
              <a:gd name="connsiteY3" fmla="*/ 48308 h 255339"/>
              <a:gd name="connsiteX4" fmla="*/ 44 w 264475"/>
              <a:gd name="connsiteY4" fmla="*/ 58659 h 255339"/>
              <a:gd name="connsiteX5" fmla="*/ 8109 w 264475"/>
              <a:gd name="connsiteY5" fmla="*/ 74762 h 255339"/>
              <a:gd name="connsiteX6" fmla="*/ 7533 w 264475"/>
              <a:gd name="connsiteY6" fmla="*/ 93165 h 255339"/>
              <a:gd name="connsiteX7" fmla="*/ 6381 w 264475"/>
              <a:gd name="connsiteY7" fmla="*/ 105241 h 255339"/>
              <a:gd name="connsiteX8" fmla="*/ 6381 w 264475"/>
              <a:gd name="connsiteY8" fmla="*/ 116168 h 255339"/>
              <a:gd name="connsiteX9" fmla="*/ 9262 w 264475"/>
              <a:gd name="connsiteY9" fmla="*/ 124220 h 255339"/>
              <a:gd name="connsiteX10" fmla="*/ 1772 w 264475"/>
              <a:gd name="connsiteY10" fmla="*/ 132846 h 255339"/>
              <a:gd name="connsiteX11" fmla="*/ 9262 w 264475"/>
              <a:gd name="connsiteY11" fmla="*/ 143773 h 255339"/>
              <a:gd name="connsiteX12" fmla="*/ 10990 w 264475"/>
              <a:gd name="connsiteY12" fmla="*/ 157575 h 255339"/>
              <a:gd name="connsiteX13" fmla="*/ 23088 w 264475"/>
              <a:gd name="connsiteY13" fmla="*/ 164476 h 255339"/>
              <a:gd name="connsiteX14" fmla="*/ 35763 w 264475"/>
              <a:gd name="connsiteY14" fmla="*/ 168501 h 255339"/>
              <a:gd name="connsiteX15" fmla="*/ 44404 w 264475"/>
              <a:gd name="connsiteY15" fmla="*/ 183454 h 255339"/>
              <a:gd name="connsiteX16" fmla="*/ 70329 w 264475"/>
              <a:gd name="connsiteY16" fmla="*/ 188630 h 255339"/>
              <a:gd name="connsiteX17" fmla="*/ 81275 w 264475"/>
              <a:gd name="connsiteY17" fmla="*/ 199556 h 255339"/>
              <a:gd name="connsiteX18" fmla="*/ 110656 w 264475"/>
              <a:gd name="connsiteY18" fmla="*/ 183454 h 255339"/>
              <a:gd name="connsiteX19" fmla="*/ 244312 w 264475"/>
              <a:gd name="connsiteY19" fmla="*/ 255340 h 255339"/>
              <a:gd name="connsiteX20" fmla="*/ 244312 w 264475"/>
              <a:gd name="connsiteY20" fmla="*/ 246139 h 255339"/>
              <a:gd name="connsiteX21" fmla="*/ 260443 w 264475"/>
              <a:gd name="connsiteY21" fmla="*/ 246139 h 255339"/>
              <a:gd name="connsiteX22" fmla="*/ 260443 w 264475"/>
              <a:gd name="connsiteY22" fmla="*/ 74762 h 255339"/>
              <a:gd name="connsiteX23" fmla="*/ 260443 w 264475"/>
              <a:gd name="connsiteY23" fmla="*/ 48883 h 255339"/>
              <a:gd name="connsiteX24" fmla="*/ 262747 w 264475"/>
              <a:gd name="connsiteY24" fmla="*/ 27029 h 255339"/>
              <a:gd name="connsiteX25" fmla="*/ 264475 w 264475"/>
              <a:gd name="connsiteY25" fmla="*/ 22428 h 255339"/>
              <a:gd name="connsiteX26" fmla="*/ 263899 w 264475"/>
              <a:gd name="connsiteY26" fmla="*/ 21853 h 255339"/>
              <a:gd name="connsiteX27" fmla="*/ 240279 w 264475"/>
              <a:gd name="connsiteY27" fmla="*/ 15527 h 255339"/>
              <a:gd name="connsiteX28" fmla="*/ 213778 w 264475"/>
              <a:gd name="connsiteY28" fmla="*/ 1725 h 255339"/>
              <a:gd name="connsiteX29" fmla="*/ 174603 w 264475"/>
              <a:gd name="connsiteY29" fmla="*/ 21853 h 255339"/>
              <a:gd name="connsiteX30" fmla="*/ 176908 w 264475"/>
              <a:gd name="connsiteY30" fmla="*/ 44857 h 255339"/>
              <a:gd name="connsiteX31" fmla="*/ 149831 w 264475"/>
              <a:gd name="connsiteY31" fmla="*/ 44857 h 255339"/>
              <a:gd name="connsiteX32" fmla="*/ 117569 w 264475"/>
              <a:gd name="connsiteY32" fmla="*/ 33355 h 255339"/>
              <a:gd name="connsiteX33" fmla="*/ 100286 w 264475"/>
              <a:gd name="connsiteY33" fmla="*/ 20703 h 255339"/>
              <a:gd name="connsiteX34" fmla="*/ 88764 w 264475"/>
              <a:gd name="connsiteY34" fmla="*/ 10352 h 255339"/>
              <a:gd name="connsiteX35" fmla="*/ 57078 w 264475"/>
              <a:gd name="connsiteY35" fmla="*/ 4026 h 255339"/>
              <a:gd name="connsiteX36" fmla="*/ 36915 w 264475"/>
              <a:gd name="connsiteY36" fmla="*/ 0 h 255339"/>
              <a:gd name="connsiteX37" fmla="*/ 36339 w 264475"/>
              <a:gd name="connsiteY37" fmla="*/ 9201 h 255339"/>
              <a:gd name="connsiteX38" fmla="*/ 28849 w 264475"/>
              <a:gd name="connsiteY38" fmla="*/ 14377 h 25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4475" h="255339">
                <a:moveTo>
                  <a:pt x="28849" y="14377"/>
                </a:moveTo>
                <a:cubicBezTo>
                  <a:pt x="27121" y="14952"/>
                  <a:pt x="17903" y="24729"/>
                  <a:pt x="15599" y="27029"/>
                </a:cubicBezTo>
                <a:cubicBezTo>
                  <a:pt x="13295" y="29330"/>
                  <a:pt x="12719" y="32780"/>
                  <a:pt x="13870" y="34505"/>
                </a:cubicBezTo>
                <a:cubicBezTo>
                  <a:pt x="15023" y="36806"/>
                  <a:pt x="13295" y="44282"/>
                  <a:pt x="10990" y="48308"/>
                </a:cubicBezTo>
                <a:cubicBezTo>
                  <a:pt x="8686" y="52908"/>
                  <a:pt x="620" y="55784"/>
                  <a:pt x="44" y="58659"/>
                </a:cubicBezTo>
                <a:cubicBezTo>
                  <a:pt x="-532" y="61535"/>
                  <a:pt x="4653" y="67285"/>
                  <a:pt x="8109" y="74762"/>
                </a:cubicBezTo>
                <a:cubicBezTo>
                  <a:pt x="11566" y="82238"/>
                  <a:pt x="4653" y="87414"/>
                  <a:pt x="7533" y="93165"/>
                </a:cubicBezTo>
                <a:cubicBezTo>
                  <a:pt x="10414" y="98915"/>
                  <a:pt x="8686" y="101791"/>
                  <a:pt x="6381" y="105241"/>
                </a:cubicBezTo>
                <a:cubicBezTo>
                  <a:pt x="4077" y="108117"/>
                  <a:pt x="6381" y="113293"/>
                  <a:pt x="6381" y="116168"/>
                </a:cubicBezTo>
                <a:cubicBezTo>
                  <a:pt x="6381" y="119044"/>
                  <a:pt x="9838" y="123069"/>
                  <a:pt x="9262" y="124220"/>
                </a:cubicBezTo>
                <a:cubicBezTo>
                  <a:pt x="8109" y="125370"/>
                  <a:pt x="1772" y="130545"/>
                  <a:pt x="1772" y="132846"/>
                </a:cubicBezTo>
                <a:cubicBezTo>
                  <a:pt x="1772" y="135146"/>
                  <a:pt x="5805" y="138022"/>
                  <a:pt x="9262" y="143773"/>
                </a:cubicBezTo>
                <a:cubicBezTo>
                  <a:pt x="13295" y="149523"/>
                  <a:pt x="10414" y="152974"/>
                  <a:pt x="10990" y="157575"/>
                </a:cubicBezTo>
                <a:cubicBezTo>
                  <a:pt x="11566" y="162175"/>
                  <a:pt x="17903" y="164476"/>
                  <a:pt x="23088" y="164476"/>
                </a:cubicBezTo>
                <a:cubicBezTo>
                  <a:pt x="28273" y="164476"/>
                  <a:pt x="31730" y="168501"/>
                  <a:pt x="35763" y="168501"/>
                </a:cubicBezTo>
                <a:cubicBezTo>
                  <a:pt x="39795" y="168501"/>
                  <a:pt x="42100" y="175403"/>
                  <a:pt x="44404" y="183454"/>
                </a:cubicBezTo>
                <a:cubicBezTo>
                  <a:pt x="46132" y="183454"/>
                  <a:pt x="62839" y="183454"/>
                  <a:pt x="70329" y="188630"/>
                </a:cubicBezTo>
                <a:cubicBezTo>
                  <a:pt x="77818" y="193805"/>
                  <a:pt x="81275" y="199556"/>
                  <a:pt x="81275" y="199556"/>
                </a:cubicBezTo>
                <a:lnTo>
                  <a:pt x="110656" y="183454"/>
                </a:lnTo>
                <a:lnTo>
                  <a:pt x="244312" y="255340"/>
                </a:lnTo>
                <a:lnTo>
                  <a:pt x="244312" y="246139"/>
                </a:lnTo>
                <a:lnTo>
                  <a:pt x="260443" y="246139"/>
                </a:lnTo>
                <a:cubicBezTo>
                  <a:pt x="260443" y="246139"/>
                  <a:pt x="260443" y="86264"/>
                  <a:pt x="260443" y="74762"/>
                </a:cubicBezTo>
                <a:cubicBezTo>
                  <a:pt x="260443" y="62685"/>
                  <a:pt x="255258" y="55209"/>
                  <a:pt x="260443" y="48883"/>
                </a:cubicBezTo>
                <a:cubicBezTo>
                  <a:pt x="265627" y="42557"/>
                  <a:pt x="258138" y="39106"/>
                  <a:pt x="262747" y="27029"/>
                </a:cubicBezTo>
                <a:cubicBezTo>
                  <a:pt x="263323" y="25879"/>
                  <a:pt x="263899" y="24154"/>
                  <a:pt x="264475" y="22428"/>
                </a:cubicBezTo>
                <a:cubicBezTo>
                  <a:pt x="264475" y="22428"/>
                  <a:pt x="263899" y="21853"/>
                  <a:pt x="263899" y="21853"/>
                </a:cubicBezTo>
                <a:cubicBezTo>
                  <a:pt x="262747" y="18403"/>
                  <a:pt x="255834" y="17828"/>
                  <a:pt x="240279" y="15527"/>
                </a:cubicBezTo>
                <a:cubicBezTo>
                  <a:pt x="224724" y="13227"/>
                  <a:pt x="230485" y="2875"/>
                  <a:pt x="213778" y="1725"/>
                </a:cubicBezTo>
                <a:cubicBezTo>
                  <a:pt x="196495" y="575"/>
                  <a:pt x="175179" y="14377"/>
                  <a:pt x="174603" y="21853"/>
                </a:cubicBezTo>
                <a:cubicBezTo>
                  <a:pt x="174603" y="29330"/>
                  <a:pt x="182669" y="37381"/>
                  <a:pt x="176908" y="44857"/>
                </a:cubicBezTo>
                <a:cubicBezTo>
                  <a:pt x="171147" y="52333"/>
                  <a:pt x="159048" y="52908"/>
                  <a:pt x="149831" y="44857"/>
                </a:cubicBezTo>
                <a:cubicBezTo>
                  <a:pt x="141189" y="36806"/>
                  <a:pt x="127939" y="33355"/>
                  <a:pt x="117569" y="33355"/>
                </a:cubicBezTo>
                <a:cubicBezTo>
                  <a:pt x="107199" y="33355"/>
                  <a:pt x="99710" y="26454"/>
                  <a:pt x="100286" y="20703"/>
                </a:cubicBezTo>
                <a:cubicBezTo>
                  <a:pt x="100862" y="14952"/>
                  <a:pt x="97982" y="12652"/>
                  <a:pt x="88764" y="10352"/>
                </a:cubicBezTo>
                <a:cubicBezTo>
                  <a:pt x="80122" y="8626"/>
                  <a:pt x="72633" y="1150"/>
                  <a:pt x="57078" y="4026"/>
                </a:cubicBezTo>
                <a:cubicBezTo>
                  <a:pt x="49013" y="5176"/>
                  <a:pt x="41524" y="2875"/>
                  <a:pt x="36915" y="0"/>
                </a:cubicBezTo>
                <a:cubicBezTo>
                  <a:pt x="36339" y="3451"/>
                  <a:pt x="36339" y="6901"/>
                  <a:pt x="36339" y="9201"/>
                </a:cubicBezTo>
                <a:cubicBezTo>
                  <a:pt x="36339" y="14377"/>
                  <a:pt x="30578" y="13227"/>
                  <a:pt x="28849" y="1437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7" name="Freeform 237">
            <a:extLst>
              <a:ext uri="{FF2B5EF4-FFF2-40B4-BE49-F238E27FC236}">
                <a16:creationId xmlns:a16="http://schemas.microsoft.com/office/drawing/2014/main" id="{DB0E20FE-9BC5-B105-706C-2C7F8647BE35}"/>
              </a:ext>
            </a:extLst>
          </p:cNvPr>
          <p:cNvSpPr/>
          <p:nvPr/>
        </p:nvSpPr>
        <p:spPr>
          <a:xfrm>
            <a:off x="5659025" y="8918868"/>
            <a:ext cx="424271" cy="120019"/>
          </a:xfrm>
          <a:custGeom>
            <a:avLst/>
            <a:gdLst>
              <a:gd name="connsiteX0" fmla="*/ 25348 w 51273"/>
              <a:gd name="connsiteY0" fmla="*/ 8179 h 14504"/>
              <a:gd name="connsiteX1" fmla="*/ 40327 w 51273"/>
              <a:gd name="connsiteY1" fmla="*/ 12204 h 14504"/>
              <a:gd name="connsiteX2" fmla="*/ 51273 w 51273"/>
              <a:gd name="connsiteY2" fmla="*/ 9329 h 14504"/>
              <a:gd name="connsiteX3" fmla="*/ 41479 w 51273"/>
              <a:gd name="connsiteY3" fmla="*/ 8179 h 14504"/>
              <a:gd name="connsiteX4" fmla="*/ 24772 w 51273"/>
              <a:gd name="connsiteY4" fmla="*/ 703 h 14504"/>
              <a:gd name="connsiteX5" fmla="*/ 2304 w 51273"/>
              <a:gd name="connsiteY5" fmla="*/ 4153 h 14504"/>
              <a:gd name="connsiteX6" fmla="*/ 0 w 51273"/>
              <a:gd name="connsiteY6" fmla="*/ 14505 h 14504"/>
              <a:gd name="connsiteX7" fmla="*/ 5185 w 51273"/>
              <a:gd name="connsiteY7" fmla="*/ 13354 h 14504"/>
              <a:gd name="connsiteX8" fmla="*/ 25348 w 51273"/>
              <a:gd name="connsiteY8" fmla="*/ 8179 h 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3" h="14504">
                <a:moveTo>
                  <a:pt x="25348" y="8179"/>
                </a:moveTo>
                <a:cubicBezTo>
                  <a:pt x="28805" y="4728"/>
                  <a:pt x="35142" y="11629"/>
                  <a:pt x="40327" y="12204"/>
                </a:cubicBezTo>
                <a:cubicBezTo>
                  <a:pt x="45512" y="12779"/>
                  <a:pt x="51273" y="9329"/>
                  <a:pt x="51273" y="9329"/>
                </a:cubicBezTo>
                <a:cubicBezTo>
                  <a:pt x="51273" y="9329"/>
                  <a:pt x="50121" y="8754"/>
                  <a:pt x="41479" y="8179"/>
                </a:cubicBezTo>
                <a:cubicBezTo>
                  <a:pt x="32838" y="7604"/>
                  <a:pt x="32262" y="-2748"/>
                  <a:pt x="24772" y="703"/>
                </a:cubicBezTo>
                <a:cubicBezTo>
                  <a:pt x="17283" y="4153"/>
                  <a:pt x="12098" y="5303"/>
                  <a:pt x="2304" y="4153"/>
                </a:cubicBezTo>
                <a:cubicBezTo>
                  <a:pt x="2304" y="7029"/>
                  <a:pt x="576" y="11054"/>
                  <a:pt x="0" y="14505"/>
                </a:cubicBezTo>
                <a:cubicBezTo>
                  <a:pt x="2304" y="13930"/>
                  <a:pt x="4033" y="13354"/>
                  <a:pt x="5185" y="13354"/>
                </a:cubicBezTo>
                <a:cubicBezTo>
                  <a:pt x="10370" y="13354"/>
                  <a:pt x="21892" y="11629"/>
                  <a:pt x="25348" y="8179"/>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8" name="Freeform 238">
            <a:extLst>
              <a:ext uri="{FF2B5EF4-FFF2-40B4-BE49-F238E27FC236}">
                <a16:creationId xmlns:a16="http://schemas.microsoft.com/office/drawing/2014/main" id="{F60496F3-53AF-AE80-0DD5-1FF5181748E7}"/>
              </a:ext>
            </a:extLst>
          </p:cNvPr>
          <p:cNvSpPr/>
          <p:nvPr/>
        </p:nvSpPr>
        <p:spPr>
          <a:xfrm>
            <a:off x="5594736" y="8523167"/>
            <a:ext cx="831780" cy="642160"/>
          </a:xfrm>
          <a:custGeom>
            <a:avLst/>
            <a:gdLst>
              <a:gd name="connsiteX0" fmla="*/ 20443 w 100520"/>
              <a:gd name="connsiteY0" fmla="*/ 75552 h 77605"/>
              <a:gd name="connsiteX1" fmla="*/ 30236 w 100520"/>
              <a:gd name="connsiteY1" fmla="*/ 71527 h 77605"/>
              <a:gd name="connsiteX2" fmla="*/ 55585 w 100520"/>
              <a:gd name="connsiteY2" fmla="*/ 69802 h 77605"/>
              <a:gd name="connsiteX3" fmla="*/ 60194 w 100520"/>
              <a:gd name="connsiteY3" fmla="*/ 70952 h 77605"/>
              <a:gd name="connsiteX4" fmla="*/ 60194 w 100520"/>
              <a:gd name="connsiteY4" fmla="*/ 69227 h 77605"/>
              <a:gd name="connsiteX5" fmla="*/ 72868 w 100520"/>
              <a:gd name="connsiteY5" fmla="*/ 74402 h 77605"/>
              <a:gd name="connsiteX6" fmla="*/ 98793 w 100520"/>
              <a:gd name="connsiteY6" fmla="*/ 76128 h 77605"/>
              <a:gd name="connsiteX7" fmla="*/ 100521 w 100520"/>
              <a:gd name="connsiteY7" fmla="*/ 75552 h 77605"/>
              <a:gd name="connsiteX8" fmla="*/ 100521 w 100520"/>
              <a:gd name="connsiteY8" fmla="*/ 64626 h 77605"/>
              <a:gd name="connsiteX9" fmla="*/ 91303 w 100520"/>
              <a:gd name="connsiteY9" fmla="*/ 53124 h 77605"/>
              <a:gd name="connsiteX10" fmla="*/ 88423 w 100520"/>
              <a:gd name="connsiteY10" fmla="*/ 42197 h 77605"/>
              <a:gd name="connsiteX11" fmla="*/ 84966 w 100520"/>
              <a:gd name="connsiteY11" fmla="*/ 37597 h 77605"/>
              <a:gd name="connsiteX12" fmla="*/ 75172 w 100520"/>
              <a:gd name="connsiteY12" fmla="*/ 25520 h 77605"/>
              <a:gd name="connsiteX13" fmla="*/ 63074 w 100520"/>
              <a:gd name="connsiteY13" fmla="*/ 9417 h 77605"/>
              <a:gd name="connsiteX14" fmla="*/ 56737 w 100520"/>
              <a:gd name="connsiteY14" fmla="*/ 9417 h 77605"/>
              <a:gd name="connsiteX15" fmla="*/ 46943 w 100520"/>
              <a:gd name="connsiteY15" fmla="*/ 791 h 77605"/>
              <a:gd name="connsiteX16" fmla="*/ 33117 w 100520"/>
              <a:gd name="connsiteY16" fmla="*/ 1941 h 77605"/>
              <a:gd name="connsiteX17" fmla="*/ 16986 w 100520"/>
              <a:gd name="connsiteY17" fmla="*/ 1941 h 77605"/>
              <a:gd name="connsiteX18" fmla="*/ 7192 w 100520"/>
              <a:gd name="connsiteY18" fmla="*/ 10567 h 77605"/>
              <a:gd name="connsiteX19" fmla="*/ 6040 w 100520"/>
              <a:gd name="connsiteY19" fmla="*/ 10567 h 77605"/>
              <a:gd name="connsiteX20" fmla="*/ 2007 w 100520"/>
              <a:gd name="connsiteY20" fmla="*/ 24369 h 77605"/>
              <a:gd name="connsiteX21" fmla="*/ 8344 w 100520"/>
              <a:gd name="connsiteY21" fmla="*/ 49098 h 77605"/>
              <a:gd name="connsiteX22" fmla="*/ 9497 w 100520"/>
              <a:gd name="connsiteY22" fmla="*/ 52549 h 77605"/>
              <a:gd name="connsiteX23" fmla="*/ 31965 w 100520"/>
              <a:gd name="connsiteY23" fmla="*/ 49098 h 77605"/>
              <a:gd name="connsiteX24" fmla="*/ 48672 w 100520"/>
              <a:gd name="connsiteY24" fmla="*/ 56575 h 77605"/>
              <a:gd name="connsiteX25" fmla="*/ 58465 w 100520"/>
              <a:gd name="connsiteY25" fmla="*/ 57725 h 77605"/>
              <a:gd name="connsiteX26" fmla="*/ 47520 w 100520"/>
              <a:gd name="connsiteY26" fmla="*/ 60600 h 77605"/>
              <a:gd name="connsiteX27" fmla="*/ 32541 w 100520"/>
              <a:gd name="connsiteY27" fmla="*/ 56575 h 77605"/>
              <a:gd name="connsiteX28" fmla="*/ 12377 w 100520"/>
              <a:gd name="connsiteY28" fmla="*/ 62325 h 77605"/>
              <a:gd name="connsiteX29" fmla="*/ 7192 w 100520"/>
              <a:gd name="connsiteY29" fmla="*/ 63476 h 77605"/>
              <a:gd name="connsiteX30" fmla="*/ 8921 w 100520"/>
              <a:gd name="connsiteY30" fmla="*/ 71527 h 77605"/>
              <a:gd name="connsiteX31" fmla="*/ 10649 w 100520"/>
              <a:gd name="connsiteY31" fmla="*/ 73827 h 77605"/>
              <a:gd name="connsiteX32" fmla="*/ 20443 w 100520"/>
              <a:gd name="connsiteY32" fmla="*/ 75552 h 7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520" h="77605">
                <a:moveTo>
                  <a:pt x="20443" y="75552"/>
                </a:moveTo>
                <a:cubicBezTo>
                  <a:pt x="23899" y="76128"/>
                  <a:pt x="30236" y="71527"/>
                  <a:pt x="30236" y="71527"/>
                </a:cubicBezTo>
                <a:cubicBezTo>
                  <a:pt x="30236" y="71527"/>
                  <a:pt x="52128" y="69802"/>
                  <a:pt x="55585" y="69802"/>
                </a:cubicBezTo>
                <a:cubicBezTo>
                  <a:pt x="56737" y="69802"/>
                  <a:pt x="58465" y="70377"/>
                  <a:pt x="60194" y="70952"/>
                </a:cubicBezTo>
                <a:cubicBezTo>
                  <a:pt x="60194" y="69802"/>
                  <a:pt x="60194" y="69227"/>
                  <a:pt x="60194" y="69227"/>
                </a:cubicBezTo>
                <a:cubicBezTo>
                  <a:pt x="60194" y="69227"/>
                  <a:pt x="71716" y="71527"/>
                  <a:pt x="72868" y="74402"/>
                </a:cubicBezTo>
                <a:cubicBezTo>
                  <a:pt x="73444" y="77278"/>
                  <a:pt x="89575" y="79003"/>
                  <a:pt x="98793" y="76128"/>
                </a:cubicBezTo>
                <a:cubicBezTo>
                  <a:pt x="99369" y="76128"/>
                  <a:pt x="99945" y="75552"/>
                  <a:pt x="100521" y="75552"/>
                </a:cubicBezTo>
                <a:cubicBezTo>
                  <a:pt x="100521" y="72102"/>
                  <a:pt x="100521" y="66351"/>
                  <a:pt x="100521" y="64626"/>
                </a:cubicBezTo>
                <a:cubicBezTo>
                  <a:pt x="99945" y="62325"/>
                  <a:pt x="94184" y="56575"/>
                  <a:pt x="91303" y="53124"/>
                </a:cubicBezTo>
                <a:cubicBezTo>
                  <a:pt x="88423" y="50249"/>
                  <a:pt x="88423" y="42197"/>
                  <a:pt x="88423" y="42197"/>
                </a:cubicBezTo>
                <a:lnTo>
                  <a:pt x="84966" y="37597"/>
                </a:lnTo>
                <a:cubicBezTo>
                  <a:pt x="84966" y="37597"/>
                  <a:pt x="82662" y="27820"/>
                  <a:pt x="75172" y="25520"/>
                </a:cubicBezTo>
                <a:cubicBezTo>
                  <a:pt x="67683" y="23219"/>
                  <a:pt x="63074" y="9417"/>
                  <a:pt x="63074" y="9417"/>
                </a:cubicBezTo>
                <a:lnTo>
                  <a:pt x="56737" y="9417"/>
                </a:lnTo>
                <a:cubicBezTo>
                  <a:pt x="56737" y="9417"/>
                  <a:pt x="51552" y="3091"/>
                  <a:pt x="46943" y="791"/>
                </a:cubicBezTo>
                <a:cubicBezTo>
                  <a:pt x="41759" y="-1510"/>
                  <a:pt x="33117" y="1941"/>
                  <a:pt x="33117" y="1941"/>
                </a:cubicBezTo>
                <a:cubicBezTo>
                  <a:pt x="33117" y="1941"/>
                  <a:pt x="23323" y="3091"/>
                  <a:pt x="16986" y="1941"/>
                </a:cubicBezTo>
                <a:cubicBezTo>
                  <a:pt x="10649" y="791"/>
                  <a:pt x="11801" y="9417"/>
                  <a:pt x="7192" y="10567"/>
                </a:cubicBezTo>
                <a:cubicBezTo>
                  <a:pt x="7192" y="10567"/>
                  <a:pt x="6616" y="10567"/>
                  <a:pt x="6040" y="10567"/>
                </a:cubicBezTo>
                <a:cubicBezTo>
                  <a:pt x="5464" y="15743"/>
                  <a:pt x="4888" y="20919"/>
                  <a:pt x="2007" y="24369"/>
                </a:cubicBezTo>
                <a:cubicBezTo>
                  <a:pt x="-3754" y="32996"/>
                  <a:pt x="4312" y="45073"/>
                  <a:pt x="8344" y="49098"/>
                </a:cubicBezTo>
                <a:cubicBezTo>
                  <a:pt x="8921" y="49673"/>
                  <a:pt x="9497" y="50824"/>
                  <a:pt x="9497" y="52549"/>
                </a:cubicBezTo>
                <a:cubicBezTo>
                  <a:pt x="18714" y="53699"/>
                  <a:pt x="23899" y="52549"/>
                  <a:pt x="31965" y="49098"/>
                </a:cubicBezTo>
                <a:cubicBezTo>
                  <a:pt x="39454" y="45648"/>
                  <a:pt x="40030" y="55424"/>
                  <a:pt x="48672" y="56575"/>
                </a:cubicBezTo>
                <a:cubicBezTo>
                  <a:pt x="57313" y="57150"/>
                  <a:pt x="58465" y="57725"/>
                  <a:pt x="58465" y="57725"/>
                </a:cubicBezTo>
                <a:cubicBezTo>
                  <a:pt x="58465" y="57725"/>
                  <a:pt x="52704" y="61175"/>
                  <a:pt x="47520" y="60600"/>
                </a:cubicBezTo>
                <a:cubicBezTo>
                  <a:pt x="42335" y="60025"/>
                  <a:pt x="36574" y="53124"/>
                  <a:pt x="32541" y="56575"/>
                </a:cubicBezTo>
                <a:cubicBezTo>
                  <a:pt x="29084" y="60025"/>
                  <a:pt x="17562" y="61750"/>
                  <a:pt x="12377" y="62325"/>
                </a:cubicBezTo>
                <a:cubicBezTo>
                  <a:pt x="11801" y="62325"/>
                  <a:pt x="9497" y="62901"/>
                  <a:pt x="7192" y="63476"/>
                </a:cubicBezTo>
                <a:cubicBezTo>
                  <a:pt x="6616" y="66351"/>
                  <a:pt x="7192" y="69227"/>
                  <a:pt x="8921" y="71527"/>
                </a:cubicBezTo>
                <a:cubicBezTo>
                  <a:pt x="9497" y="72102"/>
                  <a:pt x="10073" y="72677"/>
                  <a:pt x="10649" y="73827"/>
                </a:cubicBezTo>
                <a:cubicBezTo>
                  <a:pt x="20443" y="70952"/>
                  <a:pt x="17562" y="74977"/>
                  <a:pt x="20443" y="75552"/>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9" name="Freeform 239">
            <a:extLst>
              <a:ext uri="{FF2B5EF4-FFF2-40B4-BE49-F238E27FC236}">
                <a16:creationId xmlns:a16="http://schemas.microsoft.com/office/drawing/2014/main" id="{F816CAF9-046E-5A51-F7F0-FD01AC1573AE}"/>
              </a:ext>
            </a:extLst>
          </p:cNvPr>
          <p:cNvSpPr/>
          <p:nvPr/>
        </p:nvSpPr>
        <p:spPr>
          <a:xfrm>
            <a:off x="5697149" y="9100763"/>
            <a:ext cx="400435" cy="242689"/>
          </a:xfrm>
          <a:custGeom>
            <a:avLst/>
            <a:gdLst>
              <a:gd name="connsiteX0" fmla="*/ 24772 w 48392"/>
              <a:gd name="connsiteY0" fmla="*/ 27029 h 29329"/>
              <a:gd name="connsiteX1" fmla="*/ 39175 w 48392"/>
              <a:gd name="connsiteY1" fmla="*/ 18403 h 29329"/>
              <a:gd name="connsiteX2" fmla="*/ 45512 w 48392"/>
              <a:gd name="connsiteY2" fmla="*/ 15528 h 29329"/>
              <a:gd name="connsiteX3" fmla="*/ 44360 w 48392"/>
              <a:gd name="connsiteY3" fmla="*/ 7476 h 29329"/>
              <a:gd name="connsiteX4" fmla="*/ 48393 w 48392"/>
              <a:gd name="connsiteY4" fmla="*/ 1150 h 29329"/>
              <a:gd name="connsiteX5" fmla="*/ 43784 w 48392"/>
              <a:gd name="connsiteY5" fmla="*/ 0 h 29329"/>
              <a:gd name="connsiteX6" fmla="*/ 18435 w 48392"/>
              <a:gd name="connsiteY6" fmla="*/ 1725 h 29329"/>
              <a:gd name="connsiteX7" fmla="*/ 8642 w 48392"/>
              <a:gd name="connsiteY7" fmla="*/ 5751 h 29329"/>
              <a:gd name="connsiteX8" fmla="*/ 0 w 48392"/>
              <a:gd name="connsiteY8" fmla="*/ 3451 h 29329"/>
              <a:gd name="connsiteX9" fmla="*/ 13826 w 48392"/>
              <a:gd name="connsiteY9" fmla="*/ 14377 h 29329"/>
              <a:gd name="connsiteX10" fmla="*/ 21316 w 48392"/>
              <a:gd name="connsiteY10" fmla="*/ 27604 h 29329"/>
              <a:gd name="connsiteX11" fmla="*/ 23044 w 48392"/>
              <a:gd name="connsiteY11" fmla="*/ 29330 h 29329"/>
              <a:gd name="connsiteX12" fmla="*/ 24772 w 48392"/>
              <a:gd name="connsiteY12" fmla="*/ 27029 h 2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92" h="29329">
                <a:moveTo>
                  <a:pt x="24772" y="27029"/>
                </a:moveTo>
                <a:cubicBezTo>
                  <a:pt x="28805" y="24154"/>
                  <a:pt x="36294" y="17253"/>
                  <a:pt x="39175" y="18403"/>
                </a:cubicBezTo>
                <a:cubicBezTo>
                  <a:pt x="42055" y="19553"/>
                  <a:pt x="45512" y="17253"/>
                  <a:pt x="45512" y="15528"/>
                </a:cubicBezTo>
                <a:cubicBezTo>
                  <a:pt x="45512" y="13802"/>
                  <a:pt x="40327" y="9201"/>
                  <a:pt x="44360" y="7476"/>
                </a:cubicBezTo>
                <a:cubicBezTo>
                  <a:pt x="47240" y="6326"/>
                  <a:pt x="47816" y="2875"/>
                  <a:pt x="48393" y="1150"/>
                </a:cubicBezTo>
                <a:cubicBezTo>
                  <a:pt x="46664" y="575"/>
                  <a:pt x="45512" y="0"/>
                  <a:pt x="43784" y="0"/>
                </a:cubicBezTo>
                <a:cubicBezTo>
                  <a:pt x="40327" y="575"/>
                  <a:pt x="18435" y="1725"/>
                  <a:pt x="18435" y="1725"/>
                </a:cubicBezTo>
                <a:cubicBezTo>
                  <a:pt x="18435" y="1725"/>
                  <a:pt x="12098" y="5751"/>
                  <a:pt x="8642" y="5751"/>
                </a:cubicBezTo>
                <a:cubicBezTo>
                  <a:pt x="5761" y="5176"/>
                  <a:pt x="8642" y="1150"/>
                  <a:pt x="0" y="3451"/>
                </a:cubicBezTo>
                <a:cubicBezTo>
                  <a:pt x="4609" y="9201"/>
                  <a:pt x="5185" y="11502"/>
                  <a:pt x="13826" y="14377"/>
                </a:cubicBezTo>
                <a:cubicBezTo>
                  <a:pt x="24196" y="17253"/>
                  <a:pt x="13250" y="22429"/>
                  <a:pt x="21316" y="27604"/>
                </a:cubicBezTo>
                <a:cubicBezTo>
                  <a:pt x="21892" y="28180"/>
                  <a:pt x="22468" y="28755"/>
                  <a:pt x="23044" y="29330"/>
                </a:cubicBezTo>
                <a:cubicBezTo>
                  <a:pt x="23620" y="27604"/>
                  <a:pt x="24196" y="27029"/>
                  <a:pt x="24772" y="27029"/>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20" name="Freeform 241">
            <a:extLst>
              <a:ext uri="{FF2B5EF4-FFF2-40B4-BE49-F238E27FC236}">
                <a16:creationId xmlns:a16="http://schemas.microsoft.com/office/drawing/2014/main" id="{7FC92AFD-EF6C-BB0D-E1D3-A7E27467129B}"/>
              </a:ext>
            </a:extLst>
          </p:cNvPr>
          <p:cNvSpPr/>
          <p:nvPr/>
        </p:nvSpPr>
        <p:spPr>
          <a:xfrm>
            <a:off x="8496946" y="8921884"/>
            <a:ext cx="1708180" cy="1391754"/>
          </a:xfrm>
          <a:custGeom>
            <a:avLst/>
            <a:gdLst>
              <a:gd name="connsiteX0" fmla="*/ 127139 w 206432"/>
              <a:gd name="connsiteY0" fmla="*/ 123983 h 168193"/>
              <a:gd name="connsiteX1" fmla="*/ 137508 w 206432"/>
              <a:gd name="connsiteY1" fmla="*/ 122258 h 168193"/>
              <a:gd name="connsiteX2" fmla="*/ 150183 w 206432"/>
              <a:gd name="connsiteY2" fmla="*/ 130884 h 168193"/>
              <a:gd name="connsiteX3" fmla="*/ 157672 w 206432"/>
              <a:gd name="connsiteY3" fmla="*/ 122833 h 168193"/>
              <a:gd name="connsiteX4" fmla="*/ 170346 w 206432"/>
              <a:gd name="connsiteY4" fmla="*/ 95804 h 168193"/>
              <a:gd name="connsiteX5" fmla="*/ 178412 w 206432"/>
              <a:gd name="connsiteY5" fmla="*/ 85452 h 168193"/>
              <a:gd name="connsiteX6" fmla="*/ 180716 w 206432"/>
              <a:gd name="connsiteY6" fmla="*/ 76250 h 168193"/>
              <a:gd name="connsiteX7" fmla="*/ 184749 w 206432"/>
              <a:gd name="connsiteY7" fmla="*/ 64749 h 168193"/>
              <a:gd name="connsiteX8" fmla="*/ 195119 w 206432"/>
              <a:gd name="connsiteY8" fmla="*/ 45771 h 168193"/>
              <a:gd name="connsiteX9" fmla="*/ 205489 w 206432"/>
              <a:gd name="connsiteY9" fmla="*/ 40020 h 168193"/>
              <a:gd name="connsiteX10" fmla="*/ 204337 w 206432"/>
              <a:gd name="connsiteY10" fmla="*/ 29093 h 168193"/>
              <a:gd name="connsiteX11" fmla="*/ 196847 w 206432"/>
              <a:gd name="connsiteY11" fmla="*/ 21617 h 168193"/>
              <a:gd name="connsiteX12" fmla="*/ 197999 w 206432"/>
              <a:gd name="connsiteY12" fmla="*/ 12415 h 168193"/>
              <a:gd name="connsiteX13" fmla="*/ 191086 w 206432"/>
              <a:gd name="connsiteY13" fmla="*/ 5514 h 168193"/>
              <a:gd name="connsiteX14" fmla="*/ 184749 w 206432"/>
              <a:gd name="connsiteY14" fmla="*/ 2064 h 168193"/>
              <a:gd name="connsiteX15" fmla="*/ 172075 w 206432"/>
              <a:gd name="connsiteY15" fmla="*/ 13566 h 168193"/>
              <a:gd name="connsiteX16" fmla="*/ 157672 w 206432"/>
              <a:gd name="connsiteY16" fmla="*/ 10115 h 168193"/>
              <a:gd name="connsiteX17" fmla="*/ 135204 w 206432"/>
              <a:gd name="connsiteY17" fmla="*/ 9540 h 168193"/>
              <a:gd name="connsiteX18" fmla="*/ 122530 w 206432"/>
              <a:gd name="connsiteY18" fmla="*/ 17591 h 168193"/>
              <a:gd name="connsiteX19" fmla="*/ 105247 w 206432"/>
              <a:gd name="connsiteY19" fmla="*/ 17591 h 168193"/>
              <a:gd name="connsiteX20" fmla="*/ 91997 w 206432"/>
              <a:gd name="connsiteY20" fmla="*/ 10115 h 168193"/>
              <a:gd name="connsiteX21" fmla="*/ 77594 w 206432"/>
              <a:gd name="connsiteY21" fmla="*/ 14141 h 168193"/>
              <a:gd name="connsiteX22" fmla="*/ 67800 w 206432"/>
              <a:gd name="connsiteY22" fmla="*/ 4939 h 168193"/>
              <a:gd name="connsiteX23" fmla="*/ 53974 w 206432"/>
              <a:gd name="connsiteY23" fmla="*/ 914 h 168193"/>
              <a:gd name="connsiteX24" fmla="*/ 43604 w 206432"/>
              <a:gd name="connsiteY24" fmla="*/ 4364 h 168193"/>
              <a:gd name="connsiteX25" fmla="*/ 27473 w 206432"/>
              <a:gd name="connsiteY25" fmla="*/ 4364 h 168193"/>
              <a:gd name="connsiteX26" fmla="*/ 23440 w 206432"/>
              <a:gd name="connsiteY26" fmla="*/ 18166 h 168193"/>
              <a:gd name="connsiteX27" fmla="*/ 15951 w 206432"/>
              <a:gd name="connsiteY27" fmla="*/ 30818 h 168193"/>
              <a:gd name="connsiteX28" fmla="*/ 14223 w 206432"/>
              <a:gd name="connsiteY28" fmla="*/ 34269 h 168193"/>
              <a:gd name="connsiteX29" fmla="*/ 15951 w 206432"/>
              <a:gd name="connsiteY29" fmla="*/ 45771 h 168193"/>
              <a:gd name="connsiteX30" fmla="*/ 14223 w 206432"/>
              <a:gd name="connsiteY30" fmla="*/ 70499 h 168193"/>
              <a:gd name="connsiteX31" fmla="*/ 7885 w 206432"/>
              <a:gd name="connsiteY31" fmla="*/ 80851 h 168193"/>
              <a:gd name="connsiteX32" fmla="*/ 396 w 206432"/>
              <a:gd name="connsiteY32" fmla="*/ 93503 h 168193"/>
              <a:gd name="connsiteX33" fmla="*/ 972 w 206432"/>
              <a:gd name="connsiteY33" fmla="*/ 114206 h 168193"/>
              <a:gd name="connsiteX34" fmla="*/ 6157 w 206432"/>
              <a:gd name="connsiteY34" fmla="*/ 128008 h 168193"/>
              <a:gd name="connsiteX35" fmla="*/ 6157 w 206432"/>
              <a:gd name="connsiteY35" fmla="*/ 128008 h 168193"/>
              <a:gd name="connsiteX36" fmla="*/ 32082 w 206432"/>
              <a:gd name="connsiteY36" fmla="*/ 134910 h 168193"/>
              <a:gd name="connsiteX37" fmla="*/ 48789 w 206432"/>
              <a:gd name="connsiteY37" fmla="*/ 152737 h 168193"/>
              <a:gd name="connsiteX38" fmla="*/ 58006 w 206432"/>
              <a:gd name="connsiteY38" fmla="*/ 167690 h 168193"/>
              <a:gd name="connsiteX39" fmla="*/ 75866 w 206432"/>
              <a:gd name="connsiteY39" fmla="*/ 163664 h 168193"/>
              <a:gd name="connsiteX40" fmla="*/ 98910 w 206432"/>
              <a:gd name="connsiteY40" fmla="*/ 161364 h 168193"/>
              <a:gd name="connsiteX41" fmla="*/ 101790 w 206432"/>
              <a:gd name="connsiteY41" fmla="*/ 161364 h 168193"/>
              <a:gd name="connsiteX42" fmla="*/ 106975 w 206432"/>
              <a:gd name="connsiteY42" fmla="*/ 142386 h 168193"/>
              <a:gd name="connsiteX43" fmla="*/ 127139 w 206432"/>
              <a:gd name="connsiteY43" fmla="*/ 123983 h 1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6432" h="168193">
                <a:moveTo>
                  <a:pt x="127139" y="123983"/>
                </a:moveTo>
                <a:cubicBezTo>
                  <a:pt x="129443" y="123408"/>
                  <a:pt x="134052" y="125133"/>
                  <a:pt x="137508" y="122258"/>
                </a:cubicBezTo>
                <a:cubicBezTo>
                  <a:pt x="140965" y="119957"/>
                  <a:pt x="149031" y="125708"/>
                  <a:pt x="150183" y="130884"/>
                </a:cubicBezTo>
                <a:cubicBezTo>
                  <a:pt x="151335" y="136060"/>
                  <a:pt x="154216" y="128584"/>
                  <a:pt x="157672" y="122833"/>
                </a:cubicBezTo>
                <a:cubicBezTo>
                  <a:pt x="160553" y="117082"/>
                  <a:pt x="170346" y="99829"/>
                  <a:pt x="170346" y="95804"/>
                </a:cubicBezTo>
                <a:cubicBezTo>
                  <a:pt x="170346" y="91778"/>
                  <a:pt x="178412" y="87752"/>
                  <a:pt x="178412" y="85452"/>
                </a:cubicBezTo>
                <a:cubicBezTo>
                  <a:pt x="178412" y="83151"/>
                  <a:pt x="177836" y="77401"/>
                  <a:pt x="180716" y="76250"/>
                </a:cubicBezTo>
                <a:cubicBezTo>
                  <a:pt x="183021" y="75100"/>
                  <a:pt x="185325" y="67624"/>
                  <a:pt x="184749" y="64749"/>
                </a:cubicBezTo>
                <a:cubicBezTo>
                  <a:pt x="184173" y="61873"/>
                  <a:pt x="193390" y="47496"/>
                  <a:pt x="195119" y="45771"/>
                </a:cubicBezTo>
                <a:cubicBezTo>
                  <a:pt x="196847" y="43470"/>
                  <a:pt x="204913" y="44620"/>
                  <a:pt x="205489" y="40020"/>
                </a:cubicBezTo>
                <a:cubicBezTo>
                  <a:pt x="206065" y="35419"/>
                  <a:pt x="207793" y="30243"/>
                  <a:pt x="204337" y="29093"/>
                </a:cubicBezTo>
                <a:cubicBezTo>
                  <a:pt x="201456" y="27943"/>
                  <a:pt x="196847" y="24492"/>
                  <a:pt x="196847" y="21617"/>
                </a:cubicBezTo>
                <a:cubicBezTo>
                  <a:pt x="196847" y="19892"/>
                  <a:pt x="196847" y="15866"/>
                  <a:pt x="197999" y="12415"/>
                </a:cubicBezTo>
                <a:cubicBezTo>
                  <a:pt x="193967" y="11840"/>
                  <a:pt x="193390" y="7815"/>
                  <a:pt x="191086" y="5514"/>
                </a:cubicBezTo>
                <a:cubicBezTo>
                  <a:pt x="188782" y="3214"/>
                  <a:pt x="188782" y="914"/>
                  <a:pt x="184749" y="2064"/>
                </a:cubicBezTo>
                <a:cubicBezTo>
                  <a:pt x="181292" y="3214"/>
                  <a:pt x="177260" y="11840"/>
                  <a:pt x="172075" y="13566"/>
                </a:cubicBezTo>
                <a:cubicBezTo>
                  <a:pt x="167466" y="15291"/>
                  <a:pt x="160553" y="11265"/>
                  <a:pt x="157672" y="10115"/>
                </a:cubicBezTo>
                <a:cubicBezTo>
                  <a:pt x="154792" y="8390"/>
                  <a:pt x="139813" y="10115"/>
                  <a:pt x="135204" y="9540"/>
                </a:cubicBezTo>
                <a:cubicBezTo>
                  <a:pt x="130595" y="8965"/>
                  <a:pt x="125986" y="15866"/>
                  <a:pt x="122530" y="17591"/>
                </a:cubicBezTo>
                <a:cubicBezTo>
                  <a:pt x="119073" y="19892"/>
                  <a:pt x="108703" y="18741"/>
                  <a:pt x="105247" y="17591"/>
                </a:cubicBezTo>
                <a:cubicBezTo>
                  <a:pt x="102366" y="16441"/>
                  <a:pt x="94877" y="10115"/>
                  <a:pt x="91997" y="10115"/>
                </a:cubicBezTo>
                <a:cubicBezTo>
                  <a:pt x="89116" y="10115"/>
                  <a:pt x="82779" y="11265"/>
                  <a:pt x="77594" y="14141"/>
                </a:cubicBezTo>
                <a:cubicBezTo>
                  <a:pt x="72409" y="17016"/>
                  <a:pt x="70681" y="8390"/>
                  <a:pt x="67800" y="4939"/>
                </a:cubicBezTo>
                <a:cubicBezTo>
                  <a:pt x="64920" y="1489"/>
                  <a:pt x="58006" y="4364"/>
                  <a:pt x="53974" y="914"/>
                </a:cubicBezTo>
                <a:cubicBezTo>
                  <a:pt x="49941" y="-2537"/>
                  <a:pt x="47061" y="4939"/>
                  <a:pt x="43604" y="4364"/>
                </a:cubicBezTo>
                <a:cubicBezTo>
                  <a:pt x="40147" y="3789"/>
                  <a:pt x="30929" y="2064"/>
                  <a:pt x="27473" y="4364"/>
                </a:cubicBezTo>
                <a:cubicBezTo>
                  <a:pt x="24592" y="7240"/>
                  <a:pt x="24592" y="17016"/>
                  <a:pt x="23440" y="18166"/>
                </a:cubicBezTo>
                <a:cubicBezTo>
                  <a:pt x="21712" y="19892"/>
                  <a:pt x="15951" y="26793"/>
                  <a:pt x="15951" y="30818"/>
                </a:cubicBezTo>
                <a:cubicBezTo>
                  <a:pt x="15951" y="32544"/>
                  <a:pt x="15375" y="33694"/>
                  <a:pt x="14223" y="34269"/>
                </a:cubicBezTo>
                <a:cubicBezTo>
                  <a:pt x="14799" y="38295"/>
                  <a:pt x="15951" y="44045"/>
                  <a:pt x="15951" y="45771"/>
                </a:cubicBezTo>
                <a:cubicBezTo>
                  <a:pt x="16527" y="49221"/>
                  <a:pt x="17679" y="66474"/>
                  <a:pt x="14223" y="70499"/>
                </a:cubicBezTo>
                <a:cubicBezTo>
                  <a:pt x="10190" y="74525"/>
                  <a:pt x="7885" y="80851"/>
                  <a:pt x="7885" y="80851"/>
                </a:cubicBezTo>
                <a:cubicBezTo>
                  <a:pt x="7885" y="80851"/>
                  <a:pt x="1548" y="84877"/>
                  <a:pt x="396" y="93503"/>
                </a:cubicBezTo>
                <a:cubicBezTo>
                  <a:pt x="-756" y="102129"/>
                  <a:pt x="972" y="107305"/>
                  <a:pt x="972" y="114206"/>
                </a:cubicBezTo>
                <a:cubicBezTo>
                  <a:pt x="972" y="118807"/>
                  <a:pt x="4429" y="122258"/>
                  <a:pt x="6157" y="128008"/>
                </a:cubicBezTo>
                <a:cubicBezTo>
                  <a:pt x="6157" y="128008"/>
                  <a:pt x="6157" y="128008"/>
                  <a:pt x="6157" y="128008"/>
                </a:cubicBezTo>
                <a:cubicBezTo>
                  <a:pt x="9038" y="132034"/>
                  <a:pt x="24016" y="133184"/>
                  <a:pt x="32082" y="134910"/>
                </a:cubicBezTo>
                <a:cubicBezTo>
                  <a:pt x="40147" y="136635"/>
                  <a:pt x="48789" y="148137"/>
                  <a:pt x="48789" y="152737"/>
                </a:cubicBezTo>
                <a:cubicBezTo>
                  <a:pt x="48789" y="157338"/>
                  <a:pt x="53974" y="165389"/>
                  <a:pt x="58006" y="167690"/>
                </a:cubicBezTo>
                <a:cubicBezTo>
                  <a:pt x="62039" y="169990"/>
                  <a:pt x="71257" y="163664"/>
                  <a:pt x="75866" y="163664"/>
                </a:cubicBezTo>
                <a:cubicBezTo>
                  <a:pt x="80474" y="163664"/>
                  <a:pt x="96029" y="163664"/>
                  <a:pt x="98910" y="161364"/>
                </a:cubicBezTo>
                <a:cubicBezTo>
                  <a:pt x="100062" y="160789"/>
                  <a:pt x="100638" y="160789"/>
                  <a:pt x="101790" y="161364"/>
                </a:cubicBezTo>
                <a:cubicBezTo>
                  <a:pt x="105247" y="151587"/>
                  <a:pt x="106975" y="142386"/>
                  <a:pt x="106975" y="142386"/>
                </a:cubicBezTo>
                <a:cubicBezTo>
                  <a:pt x="106975" y="142386"/>
                  <a:pt x="124834" y="124558"/>
                  <a:pt x="127139" y="123983"/>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57" name="Freeform 242">
            <a:extLst>
              <a:ext uri="{FF2B5EF4-FFF2-40B4-BE49-F238E27FC236}">
                <a16:creationId xmlns:a16="http://schemas.microsoft.com/office/drawing/2014/main" id="{250B4DBA-8CA2-3276-58CE-CB52CE34CFFE}"/>
              </a:ext>
            </a:extLst>
          </p:cNvPr>
          <p:cNvSpPr/>
          <p:nvPr/>
        </p:nvSpPr>
        <p:spPr>
          <a:xfrm>
            <a:off x="8199892" y="9136231"/>
            <a:ext cx="431423" cy="887724"/>
          </a:xfrm>
          <a:custGeom>
            <a:avLst/>
            <a:gdLst>
              <a:gd name="connsiteX0" fmla="*/ 35718 w 52137"/>
              <a:gd name="connsiteY0" fmla="*/ 68175 h 107281"/>
              <a:gd name="connsiteX1" fmla="*/ 43208 w 52137"/>
              <a:gd name="connsiteY1" fmla="*/ 55523 h 107281"/>
              <a:gd name="connsiteX2" fmla="*/ 49545 w 52137"/>
              <a:gd name="connsiteY2" fmla="*/ 45172 h 107281"/>
              <a:gd name="connsiteX3" fmla="*/ 51273 w 52137"/>
              <a:gd name="connsiteY3" fmla="*/ 20443 h 107281"/>
              <a:gd name="connsiteX4" fmla="*/ 49545 w 52137"/>
              <a:gd name="connsiteY4" fmla="*/ 8941 h 107281"/>
              <a:gd name="connsiteX5" fmla="*/ 43784 w 52137"/>
              <a:gd name="connsiteY5" fmla="*/ 8366 h 107281"/>
              <a:gd name="connsiteX6" fmla="*/ 38023 w 52137"/>
              <a:gd name="connsiteY6" fmla="*/ 315 h 107281"/>
              <a:gd name="connsiteX7" fmla="*/ 31686 w 52137"/>
              <a:gd name="connsiteY7" fmla="*/ 8366 h 107281"/>
              <a:gd name="connsiteX8" fmla="*/ 27077 w 52137"/>
              <a:gd name="connsiteY8" fmla="*/ 15267 h 107281"/>
              <a:gd name="connsiteX9" fmla="*/ 12674 w 52137"/>
              <a:gd name="connsiteY9" fmla="*/ 18142 h 107281"/>
              <a:gd name="connsiteX10" fmla="*/ 2881 w 52137"/>
              <a:gd name="connsiteY10" fmla="*/ 25043 h 107281"/>
              <a:gd name="connsiteX11" fmla="*/ 0 w 52137"/>
              <a:gd name="connsiteY11" fmla="*/ 25043 h 107281"/>
              <a:gd name="connsiteX12" fmla="*/ 9794 w 52137"/>
              <a:gd name="connsiteY12" fmla="*/ 41146 h 107281"/>
              <a:gd name="connsiteX13" fmla="*/ 13250 w 52137"/>
              <a:gd name="connsiteY13" fmla="*/ 54373 h 107281"/>
              <a:gd name="connsiteX14" fmla="*/ 16131 w 52137"/>
              <a:gd name="connsiteY14" fmla="*/ 75076 h 107281"/>
              <a:gd name="connsiteX15" fmla="*/ 17859 w 52137"/>
              <a:gd name="connsiteY15" fmla="*/ 107281 h 107281"/>
              <a:gd name="connsiteX16" fmla="*/ 29381 w 52137"/>
              <a:gd name="connsiteY16" fmla="*/ 106131 h 107281"/>
              <a:gd name="connsiteX17" fmla="*/ 41479 w 52137"/>
              <a:gd name="connsiteY17" fmla="*/ 102105 h 107281"/>
              <a:gd name="connsiteX18" fmla="*/ 36294 w 52137"/>
              <a:gd name="connsiteY18" fmla="*/ 88303 h 107281"/>
              <a:gd name="connsiteX19" fmla="*/ 35718 w 52137"/>
              <a:gd name="connsiteY19" fmla="*/ 68175 h 10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37" h="107281">
                <a:moveTo>
                  <a:pt x="35718" y="68175"/>
                </a:moveTo>
                <a:cubicBezTo>
                  <a:pt x="36871" y="59549"/>
                  <a:pt x="43208" y="55523"/>
                  <a:pt x="43208" y="55523"/>
                </a:cubicBezTo>
                <a:cubicBezTo>
                  <a:pt x="43208" y="55523"/>
                  <a:pt x="46088" y="49197"/>
                  <a:pt x="49545" y="45172"/>
                </a:cubicBezTo>
                <a:cubicBezTo>
                  <a:pt x="53577" y="41146"/>
                  <a:pt x="51849" y="23893"/>
                  <a:pt x="51273" y="20443"/>
                </a:cubicBezTo>
                <a:cubicBezTo>
                  <a:pt x="51273" y="18717"/>
                  <a:pt x="50121" y="12966"/>
                  <a:pt x="49545" y="8941"/>
                </a:cubicBezTo>
                <a:cubicBezTo>
                  <a:pt x="48393" y="9516"/>
                  <a:pt x="46664" y="9516"/>
                  <a:pt x="43784" y="8366"/>
                </a:cubicBezTo>
                <a:cubicBezTo>
                  <a:pt x="39175" y="6065"/>
                  <a:pt x="43208" y="1465"/>
                  <a:pt x="38023" y="315"/>
                </a:cubicBezTo>
                <a:cubicBezTo>
                  <a:pt x="32838" y="-1411"/>
                  <a:pt x="30533" y="4340"/>
                  <a:pt x="31686" y="8366"/>
                </a:cubicBezTo>
                <a:cubicBezTo>
                  <a:pt x="32838" y="12391"/>
                  <a:pt x="29381" y="12391"/>
                  <a:pt x="27077" y="15267"/>
                </a:cubicBezTo>
                <a:cubicBezTo>
                  <a:pt x="24772" y="18142"/>
                  <a:pt x="15555" y="18142"/>
                  <a:pt x="12674" y="18142"/>
                </a:cubicBezTo>
                <a:cubicBezTo>
                  <a:pt x="9794" y="18142"/>
                  <a:pt x="5761" y="23893"/>
                  <a:pt x="2881" y="25043"/>
                </a:cubicBezTo>
                <a:cubicBezTo>
                  <a:pt x="2305" y="25043"/>
                  <a:pt x="1152" y="25043"/>
                  <a:pt x="0" y="25043"/>
                </a:cubicBezTo>
                <a:cubicBezTo>
                  <a:pt x="576" y="38845"/>
                  <a:pt x="2881" y="37695"/>
                  <a:pt x="9794" y="41146"/>
                </a:cubicBezTo>
                <a:cubicBezTo>
                  <a:pt x="17283" y="45172"/>
                  <a:pt x="10370" y="51498"/>
                  <a:pt x="13250" y="54373"/>
                </a:cubicBezTo>
                <a:cubicBezTo>
                  <a:pt x="16131" y="57248"/>
                  <a:pt x="14979" y="65300"/>
                  <a:pt x="16131" y="75076"/>
                </a:cubicBezTo>
                <a:cubicBezTo>
                  <a:pt x="16707" y="80827"/>
                  <a:pt x="17283" y="96354"/>
                  <a:pt x="17859" y="107281"/>
                </a:cubicBezTo>
                <a:cubicBezTo>
                  <a:pt x="21892" y="106706"/>
                  <a:pt x="26501" y="106131"/>
                  <a:pt x="29381" y="106131"/>
                </a:cubicBezTo>
                <a:cubicBezTo>
                  <a:pt x="35142" y="106131"/>
                  <a:pt x="38023" y="98655"/>
                  <a:pt x="41479" y="102105"/>
                </a:cubicBezTo>
                <a:cubicBezTo>
                  <a:pt x="39751" y="96354"/>
                  <a:pt x="36294" y="92904"/>
                  <a:pt x="36294" y="88303"/>
                </a:cubicBezTo>
                <a:cubicBezTo>
                  <a:pt x="35718" y="81977"/>
                  <a:pt x="34566" y="76801"/>
                  <a:pt x="35718" y="68175"/>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58" name="Freeform 243">
            <a:extLst>
              <a:ext uri="{FF2B5EF4-FFF2-40B4-BE49-F238E27FC236}">
                <a16:creationId xmlns:a16="http://schemas.microsoft.com/office/drawing/2014/main" id="{872065EA-3D82-BB90-D50F-A5C1944A0C77}"/>
              </a:ext>
            </a:extLst>
          </p:cNvPr>
          <p:cNvSpPr/>
          <p:nvPr/>
        </p:nvSpPr>
        <p:spPr>
          <a:xfrm>
            <a:off x="8071180" y="9329179"/>
            <a:ext cx="266957" cy="756637"/>
          </a:xfrm>
          <a:custGeom>
            <a:avLst/>
            <a:gdLst>
              <a:gd name="connsiteX0" fmla="*/ 28805 w 32261"/>
              <a:gd name="connsiteY0" fmla="*/ 31630 h 91439"/>
              <a:gd name="connsiteX1" fmla="*/ 25349 w 32261"/>
              <a:gd name="connsiteY1" fmla="*/ 18403 h 91439"/>
              <a:gd name="connsiteX2" fmla="*/ 15555 w 32261"/>
              <a:gd name="connsiteY2" fmla="*/ 2300 h 91439"/>
              <a:gd name="connsiteX3" fmla="*/ 2305 w 32261"/>
              <a:gd name="connsiteY3" fmla="*/ 0 h 91439"/>
              <a:gd name="connsiteX4" fmla="*/ 0 w 32261"/>
              <a:gd name="connsiteY4" fmla="*/ 575 h 91439"/>
              <a:gd name="connsiteX5" fmla="*/ 3457 w 32261"/>
              <a:gd name="connsiteY5" fmla="*/ 12077 h 91439"/>
              <a:gd name="connsiteX6" fmla="*/ 7489 w 32261"/>
              <a:gd name="connsiteY6" fmla="*/ 22428 h 91439"/>
              <a:gd name="connsiteX7" fmla="*/ 8066 w 32261"/>
              <a:gd name="connsiteY7" fmla="*/ 47157 h 91439"/>
              <a:gd name="connsiteX8" fmla="*/ 12674 w 32261"/>
              <a:gd name="connsiteY8" fmla="*/ 71311 h 91439"/>
              <a:gd name="connsiteX9" fmla="*/ 19011 w 32261"/>
              <a:gd name="connsiteY9" fmla="*/ 91439 h 91439"/>
              <a:gd name="connsiteX10" fmla="*/ 22468 w 32261"/>
              <a:gd name="connsiteY10" fmla="*/ 89139 h 91439"/>
              <a:gd name="connsiteX11" fmla="*/ 32262 w 32261"/>
              <a:gd name="connsiteY11" fmla="*/ 85113 h 91439"/>
              <a:gd name="connsiteX12" fmla="*/ 30533 w 32261"/>
              <a:gd name="connsiteY12" fmla="*/ 52908 h 91439"/>
              <a:gd name="connsiteX13" fmla="*/ 28805 w 32261"/>
              <a:gd name="connsiteY13" fmla="*/ 31630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61" h="91439">
                <a:moveTo>
                  <a:pt x="28805" y="31630"/>
                </a:moveTo>
                <a:cubicBezTo>
                  <a:pt x="25925" y="28755"/>
                  <a:pt x="32838" y="22428"/>
                  <a:pt x="25349" y="18403"/>
                </a:cubicBezTo>
                <a:cubicBezTo>
                  <a:pt x="19011" y="14377"/>
                  <a:pt x="16707" y="15527"/>
                  <a:pt x="15555" y="2300"/>
                </a:cubicBezTo>
                <a:cubicBezTo>
                  <a:pt x="11522" y="2300"/>
                  <a:pt x="6337" y="575"/>
                  <a:pt x="2305" y="0"/>
                </a:cubicBezTo>
                <a:cubicBezTo>
                  <a:pt x="1728" y="0"/>
                  <a:pt x="576" y="0"/>
                  <a:pt x="0" y="575"/>
                </a:cubicBezTo>
                <a:cubicBezTo>
                  <a:pt x="576" y="5751"/>
                  <a:pt x="2305" y="10927"/>
                  <a:pt x="3457" y="12077"/>
                </a:cubicBezTo>
                <a:cubicBezTo>
                  <a:pt x="6337" y="13802"/>
                  <a:pt x="8066" y="16678"/>
                  <a:pt x="7489" y="22428"/>
                </a:cubicBezTo>
                <a:cubicBezTo>
                  <a:pt x="6913" y="28179"/>
                  <a:pt x="5761" y="40831"/>
                  <a:pt x="8066" y="47157"/>
                </a:cubicBezTo>
                <a:cubicBezTo>
                  <a:pt x="10370" y="52908"/>
                  <a:pt x="12674" y="62110"/>
                  <a:pt x="12674" y="71311"/>
                </a:cubicBezTo>
                <a:cubicBezTo>
                  <a:pt x="12674" y="77062"/>
                  <a:pt x="15555" y="85113"/>
                  <a:pt x="19011" y="91439"/>
                </a:cubicBezTo>
                <a:cubicBezTo>
                  <a:pt x="20164" y="90864"/>
                  <a:pt x="21316" y="89714"/>
                  <a:pt x="22468" y="89139"/>
                </a:cubicBezTo>
                <a:cubicBezTo>
                  <a:pt x="24772" y="87414"/>
                  <a:pt x="28229" y="86264"/>
                  <a:pt x="32262" y="85113"/>
                </a:cubicBezTo>
                <a:cubicBezTo>
                  <a:pt x="31686" y="74187"/>
                  <a:pt x="31110" y="58659"/>
                  <a:pt x="30533" y="52908"/>
                </a:cubicBezTo>
                <a:cubicBezTo>
                  <a:pt x="31110" y="41982"/>
                  <a:pt x="32262" y="34505"/>
                  <a:pt x="28805" y="3163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59" name="Freeform 245">
            <a:extLst>
              <a:ext uri="{FF2B5EF4-FFF2-40B4-BE49-F238E27FC236}">
                <a16:creationId xmlns:a16="http://schemas.microsoft.com/office/drawing/2014/main" id="{FC2DF573-E104-5F1B-F2F1-92DF2BFC3870}"/>
              </a:ext>
            </a:extLst>
          </p:cNvPr>
          <p:cNvSpPr/>
          <p:nvPr/>
        </p:nvSpPr>
        <p:spPr>
          <a:xfrm>
            <a:off x="6839391" y="9392103"/>
            <a:ext cx="883791" cy="893584"/>
          </a:xfrm>
          <a:custGeom>
            <a:avLst/>
            <a:gdLst>
              <a:gd name="connsiteX0" fmla="*/ 101621 w 106805"/>
              <a:gd name="connsiteY0" fmla="*/ 91886 h 107989"/>
              <a:gd name="connsiteX1" fmla="*/ 94132 w 106805"/>
              <a:gd name="connsiteY1" fmla="*/ 72333 h 107989"/>
              <a:gd name="connsiteX2" fmla="*/ 100469 w 106805"/>
              <a:gd name="connsiteY2" fmla="*/ 55081 h 107989"/>
              <a:gd name="connsiteX3" fmla="*/ 106806 w 106805"/>
              <a:gd name="connsiteY3" fmla="*/ 43579 h 107989"/>
              <a:gd name="connsiteX4" fmla="*/ 100469 w 106805"/>
              <a:gd name="connsiteY4" fmla="*/ 16550 h 107989"/>
              <a:gd name="connsiteX5" fmla="*/ 97012 w 106805"/>
              <a:gd name="connsiteY5" fmla="*/ 14824 h 107989"/>
              <a:gd name="connsiteX6" fmla="*/ 76273 w 106805"/>
              <a:gd name="connsiteY6" fmla="*/ 17125 h 107989"/>
              <a:gd name="connsiteX7" fmla="*/ 60718 w 106805"/>
              <a:gd name="connsiteY7" fmla="*/ 9649 h 107989"/>
              <a:gd name="connsiteX8" fmla="*/ 47467 w 106805"/>
              <a:gd name="connsiteY8" fmla="*/ 5048 h 107989"/>
              <a:gd name="connsiteX9" fmla="*/ 41130 w 106805"/>
              <a:gd name="connsiteY9" fmla="*/ 2747 h 107989"/>
              <a:gd name="connsiteX10" fmla="*/ 32489 w 106805"/>
              <a:gd name="connsiteY10" fmla="*/ 3898 h 107989"/>
              <a:gd name="connsiteX11" fmla="*/ 22695 w 106805"/>
              <a:gd name="connsiteY11" fmla="*/ 8498 h 107989"/>
              <a:gd name="connsiteX12" fmla="*/ 14053 w 106805"/>
              <a:gd name="connsiteY12" fmla="*/ 5623 h 107989"/>
              <a:gd name="connsiteX13" fmla="*/ 8292 w 106805"/>
              <a:gd name="connsiteY13" fmla="*/ 6773 h 107989"/>
              <a:gd name="connsiteX14" fmla="*/ 8292 w 106805"/>
              <a:gd name="connsiteY14" fmla="*/ 20575 h 107989"/>
              <a:gd name="connsiteX15" fmla="*/ 11173 w 106805"/>
              <a:gd name="connsiteY15" fmla="*/ 28626 h 107989"/>
              <a:gd name="connsiteX16" fmla="*/ 14053 w 106805"/>
              <a:gd name="connsiteY16" fmla="*/ 39553 h 107989"/>
              <a:gd name="connsiteX17" fmla="*/ 5988 w 106805"/>
              <a:gd name="connsiteY17" fmla="*/ 40703 h 107989"/>
              <a:gd name="connsiteX18" fmla="*/ 7716 w 106805"/>
              <a:gd name="connsiteY18" fmla="*/ 51055 h 107989"/>
              <a:gd name="connsiteX19" fmla="*/ 2531 w 106805"/>
              <a:gd name="connsiteY19" fmla="*/ 60832 h 107989"/>
              <a:gd name="connsiteX20" fmla="*/ 803 w 106805"/>
              <a:gd name="connsiteY20" fmla="*/ 73484 h 107989"/>
              <a:gd name="connsiteX21" fmla="*/ 6564 w 106805"/>
              <a:gd name="connsiteY21" fmla="*/ 78659 h 107989"/>
              <a:gd name="connsiteX22" fmla="*/ 20391 w 106805"/>
              <a:gd name="connsiteY22" fmla="*/ 91886 h 107989"/>
              <a:gd name="connsiteX23" fmla="*/ 15206 w 106805"/>
              <a:gd name="connsiteY23" fmla="*/ 107989 h 107989"/>
              <a:gd name="connsiteX24" fmla="*/ 67055 w 106805"/>
              <a:gd name="connsiteY24" fmla="*/ 96487 h 107989"/>
              <a:gd name="connsiteX25" fmla="*/ 101045 w 106805"/>
              <a:gd name="connsiteY25" fmla="*/ 98212 h 107989"/>
              <a:gd name="connsiteX26" fmla="*/ 101621 w 106805"/>
              <a:gd name="connsiteY26" fmla="*/ 91886 h 10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805" h="107989">
                <a:moveTo>
                  <a:pt x="101621" y="91886"/>
                </a:moveTo>
                <a:cubicBezTo>
                  <a:pt x="99317" y="89011"/>
                  <a:pt x="94132" y="75784"/>
                  <a:pt x="94132" y="72333"/>
                </a:cubicBezTo>
                <a:cubicBezTo>
                  <a:pt x="94708" y="69458"/>
                  <a:pt x="101045" y="59681"/>
                  <a:pt x="100469" y="55081"/>
                </a:cubicBezTo>
                <a:cubicBezTo>
                  <a:pt x="99893" y="50480"/>
                  <a:pt x="106806" y="47605"/>
                  <a:pt x="106806" y="43579"/>
                </a:cubicBezTo>
                <a:cubicBezTo>
                  <a:pt x="106806" y="40703"/>
                  <a:pt x="105078" y="25751"/>
                  <a:pt x="100469" y="16550"/>
                </a:cubicBezTo>
                <a:cubicBezTo>
                  <a:pt x="99317" y="16550"/>
                  <a:pt x="98740" y="15975"/>
                  <a:pt x="97012" y="14824"/>
                </a:cubicBezTo>
                <a:cubicBezTo>
                  <a:pt x="94132" y="11949"/>
                  <a:pt x="80881" y="11949"/>
                  <a:pt x="76273" y="17125"/>
                </a:cubicBezTo>
                <a:cubicBezTo>
                  <a:pt x="71664" y="22300"/>
                  <a:pt x="62446" y="12524"/>
                  <a:pt x="60718" y="9649"/>
                </a:cubicBezTo>
                <a:cubicBezTo>
                  <a:pt x="58989" y="6773"/>
                  <a:pt x="52652" y="1597"/>
                  <a:pt x="47467" y="5048"/>
                </a:cubicBezTo>
                <a:cubicBezTo>
                  <a:pt x="42282" y="8498"/>
                  <a:pt x="40554" y="7348"/>
                  <a:pt x="41130" y="2747"/>
                </a:cubicBezTo>
                <a:cubicBezTo>
                  <a:pt x="41706" y="-1853"/>
                  <a:pt x="33641" y="-128"/>
                  <a:pt x="32489" y="3898"/>
                </a:cubicBezTo>
                <a:cubicBezTo>
                  <a:pt x="31336" y="7923"/>
                  <a:pt x="24999" y="11374"/>
                  <a:pt x="22695" y="8498"/>
                </a:cubicBezTo>
                <a:cubicBezTo>
                  <a:pt x="20391" y="5623"/>
                  <a:pt x="15782" y="1022"/>
                  <a:pt x="14053" y="5623"/>
                </a:cubicBezTo>
                <a:cubicBezTo>
                  <a:pt x="12901" y="9073"/>
                  <a:pt x="10021" y="8498"/>
                  <a:pt x="8292" y="6773"/>
                </a:cubicBezTo>
                <a:cubicBezTo>
                  <a:pt x="7140" y="12524"/>
                  <a:pt x="5412" y="18850"/>
                  <a:pt x="8292" y="20575"/>
                </a:cubicBezTo>
                <a:cubicBezTo>
                  <a:pt x="11749" y="22300"/>
                  <a:pt x="12325" y="26326"/>
                  <a:pt x="11173" y="28626"/>
                </a:cubicBezTo>
                <a:cubicBezTo>
                  <a:pt x="10597" y="30927"/>
                  <a:pt x="16934" y="36678"/>
                  <a:pt x="14053" y="39553"/>
                </a:cubicBezTo>
                <a:cubicBezTo>
                  <a:pt x="11173" y="42429"/>
                  <a:pt x="7716" y="36678"/>
                  <a:pt x="5988" y="40703"/>
                </a:cubicBezTo>
                <a:cubicBezTo>
                  <a:pt x="4260" y="44729"/>
                  <a:pt x="10021" y="48180"/>
                  <a:pt x="7716" y="51055"/>
                </a:cubicBezTo>
                <a:cubicBezTo>
                  <a:pt x="5412" y="53930"/>
                  <a:pt x="1955" y="54506"/>
                  <a:pt x="2531" y="60832"/>
                </a:cubicBezTo>
                <a:cubicBezTo>
                  <a:pt x="3107" y="67158"/>
                  <a:pt x="3107" y="71183"/>
                  <a:pt x="803" y="73484"/>
                </a:cubicBezTo>
                <a:cubicBezTo>
                  <a:pt x="-1501" y="75209"/>
                  <a:pt x="1379" y="75209"/>
                  <a:pt x="6564" y="78659"/>
                </a:cubicBezTo>
                <a:cubicBezTo>
                  <a:pt x="11749" y="82110"/>
                  <a:pt x="20967" y="86135"/>
                  <a:pt x="20391" y="91886"/>
                </a:cubicBezTo>
                <a:cubicBezTo>
                  <a:pt x="19814" y="97062"/>
                  <a:pt x="17510" y="98212"/>
                  <a:pt x="15206" y="107989"/>
                </a:cubicBezTo>
                <a:cubicBezTo>
                  <a:pt x="25575" y="107989"/>
                  <a:pt x="44587" y="100513"/>
                  <a:pt x="67055" y="96487"/>
                </a:cubicBezTo>
                <a:cubicBezTo>
                  <a:pt x="80881" y="94187"/>
                  <a:pt x="92979" y="95912"/>
                  <a:pt x="101045" y="98212"/>
                </a:cubicBezTo>
                <a:cubicBezTo>
                  <a:pt x="102197" y="97062"/>
                  <a:pt x="102773" y="93037"/>
                  <a:pt x="101621" y="9188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0" name="Freeform 246">
            <a:extLst>
              <a:ext uri="{FF2B5EF4-FFF2-40B4-BE49-F238E27FC236}">
                <a16:creationId xmlns:a16="http://schemas.microsoft.com/office/drawing/2014/main" id="{2D1B0D4F-D696-8FEC-969B-EA8DBD9EAFF8}"/>
              </a:ext>
            </a:extLst>
          </p:cNvPr>
          <p:cNvSpPr/>
          <p:nvPr/>
        </p:nvSpPr>
        <p:spPr>
          <a:xfrm>
            <a:off x="7627510" y="9324418"/>
            <a:ext cx="615287" cy="932917"/>
          </a:xfrm>
          <a:custGeom>
            <a:avLst/>
            <a:gdLst>
              <a:gd name="connsiteX0" fmla="*/ 62259 w 74357"/>
              <a:gd name="connsiteY0" fmla="*/ 46582 h 112742"/>
              <a:gd name="connsiteX1" fmla="*/ 61683 w 74357"/>
              <a:gd name="connsiteY1" fmla="*/ 21853 h 112742"/>
              <a:gd name="connsiteX2" fmla="*/ 57651 w 74357"/>
              <a:gd name="connsiteY2" fmla="*/ 11502 h 112742"/>
              <a:gd name="connsiteX3" fmla="*/ 54194 w 74357"/>
              <a:gd name="connsiteY3" fmla="*/ 0 h 112742"/>
              <a:gd name="connsiteX4" fmla="*/ 49585 w 74357"/>
              <a:gd name="connsiteY4" fmla="*/ 4026 h 112742"/>
              <a:gd name="connsiteX5" fmla="*/ 5801 w 74357"/>
              <a:gd name="connsiteY5" fmla="*/ 2875 h 112742"/>
              <a:gd name="connsiteX6" fmla="*/ 8682 w 74357"/>
              <a:gd name="connsiteY6" fmla="*/ 20703 h 112742"/>
              <a:gd name="connsiteX7" fmla="*/ 6377 w 74357"/>
              <a:gd name="connsiteY7" fmla="*/ 24154 h 112742"/>
              <a:gd name="connsiteX8" fmla="*/ 12715 w 74357"/>
              <a:gd name="connsiteY8" fmla="*/ 51183 h 112742"/>
              <a:gd name="connsiteX9" fmla="*/ 6377 w 74357"/>
              <a:gd name="connsiteY9" fmla="*/ 62685 h 112742"/>
              <a:gd name="connsiteX10" fmla="*/ 40 w 74357"/>
              <a:gd name="connsiteY10" fmla="*/ 79938 h 112742"/>
              <a:gd name="connsiteX11" fmla="*/ 7529 w 74357"/>
              <a:gd name="connsiteY11" fmla="*/ 99491 h 112742"/>
              <a:gd name="connsiteX12" fmla="*/ 6954 w 74357"/>
              <a:gd name="connsiteY12" fmla="*/ 108117 h 112742"/>
              <a:gd name="connsiteX13" fmla="*/ 20204 w 74357"/>
              <a:gd name="connsiteY13" fmla="*/ 112718 h 112742"/>
              <a:gd name="connsiteX14" fmla="*/ 54194 w 74357"/>
              <a:gd name="connsiteY14" fmla="*/ 98916 h 112742"/>
              <a:gd name="connsiteX15" fmla="*/ 74358 w 74357"/>
              <a:gd name="connsiteY15" fmla="*/ 90289 h 112742"/>
              <a:gd name="connsiteX16" fmla="*/ 68020 w 74357"/>
              <a:gd name="connsiteY16" fmla="*/ 70161 h 112742"/>
              <a:gd name="connsiteX17" fmla="*/ 62259 w 74357"/>
              <a:gd name="connsiteY17" fmla="*/ 46582 h 11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357" h="112742">
                <a:moveTo>
                  <a:pt x="62259" y="46582"/>
                </a:moveTo>
                <a:cubicBezTo>
                  <a:pt x="59955" y="40831"/>
                  <a:pt x="61683" y="28179"/>
                  <a:pt x="61683" y="21853"/>
                </a:cubicBezTo>
                <a:cubicBezTo>
                  <a:pt x="62259" y="16102"/>
                  <a:pt x="59955" y="12652"/>
                  <a:pt x="57651" y="11502"/>
                </a:cubicBezTo>
                <a:cubicBezTo>
                  <a:pt x="55922" y="10927"/>
                  <a:pt x="54770" y="5176"/>
                  <a:pt x="54194" y="0"/>
                </a:cubicBezTo>
                <a:cubicBezTo>
                  <a:pt x="51314" y="1150"/>
                  <a:pt x="50737" y="6326"/>
                  <a:pt x="49585" y="4026"/>
                </a:cubicBezTo>
                <a:cubicBezTo>
                  <a:pt x="47857" y="1725"/>
                  <a:pt x="7529" y="0"/>
                  <a:pt x="5801" y="2875"/>
                </a:cubicBezTo>
                <a:cubicBezTo>
                  <a:pt x="3497" y="5751"/>
                  <a:pt x="9258" y="17253"/>
                  <a:pt x="8682" y="20703"/>
                </a:cubicBezTo>
                <a:cubicBezTo>
                  <a:pt x="8106" y="22428"/>
                  <a:pt x="7529" y="23579"/>
                  <a:pt x="6377" y="24154"/>
                </a:cubicBezTo>
                <a:cubicBezTo>
                  <a:pt x="10410" y="33930"/>
                  <a:pt x="12715" y="48308"/>
                  <a:pt x="12715" y="51183"/>
                </a:cubicBezTo>
                <a:cubicBezTo>
                  <a:pt x="12715" y="55209"/>
                  <a:pt x="5801" y="58084"/>
                  <a:pt x="6377" y="62685"/>
                </a:cubicBezTo>
                <a:cubicBezTo>
                  <a:pt x="6954" y="67286"/>
                  <a:pt x="40" y="76487"/>
                  <a:pt x="40" y="79938"/>
                </a:cubicBezTo>
                <a:cubicBezTo>
                  <a:pt x="-536" y="82813"/>
                  <a:pt x="5225" y="96040"/>
                  <a:pt x="7529" y="99491"/>
                </a:cubicBezTo>
                <a:cubicBezTo>
                  <a:pt x="8682" y="101216"/>
                  <a:pt x="8106" y="104666"/>
                  <a:pt x="6954" y="108117"/>
                </a:cubicBezTo>
                <a:cubicBezTo>
                  <a:pt x="13867" y="110417"/>
                  <a:pt x="18476" y="112718"/>
                  <a:pt x="20204" y="112718"/>
                </a:cubicBezTo>
                <a:cubicBezTo>
                  <a:pt x="23084" y="113293"/>
                  <a:pt x="45552" y="103516"/>
                  <a:pt x="54194" y="98916"/>
                </a:cubicBezTo>
                <a:cubicBezTo>
                  <a:pt x="61107" y="95465"/>
                  <a:pt x="69173" y="93165"/>
                  <a:pt x="74358" y="90289"/>
                </a:cubicBezTo>
                <a:cubicBezTo>
                  <a:pt x="70901" y="83963"/>
                  <a:pt x="68020" y="75912"/>
                  <a:pt x="68020" y="70161"/>
                </a:cubicBezTo>
                <a:cubicBezTo>
                  <a:pt x="66868" y="61535"/>
                  <a:pt x="64564" y="52333"/>
                  <a:pt x="62259" y="46582"/>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1" name="Freeform 247">
            <a:extLst>
              <a:ext uri="{FF2B5EF4-FFF2-40B4-BE49-F238E27FC236}">
                <a16:creationId xmlns:a16="http://schemas.microsoft.com/office/drawing/2014/main" id="{2BF2D4AA-22BB-38C3-0300-37F8A0A24F11}"/>
              </a:ext>
            </a:extLst>
          </p:cNvPr>
          <p:cNvSpPr/>
          <p:nvPr/>
        </p:nvSpPr>
        <p:spPr>
          <a:xfrm>
            <a:off x="5878305" y="9100763"/>
            <a:ext cx="1087996" cy="800511"/>
          </a:xfrm>
          <a:custGeom>
            <a:avLst/>
            <a:gdLst>
              <a:gd name="connsiteX0" fmla="*/ 44936 w 131483"/>
              <a:gd name="connsiteY0" fmla="*/ 52333 h 96741"/>
              <a:gd name="connsiteX1" fmla="*/ 53002 w 131483"/>
              <a:gd name="connsiteY1" fmla="*/ 50608 h 96741"/>
              <a:gd name="connsiteX2" fmla="*/ 66252 w 131483"/>
              <a:gd name="connsiteY2" fmla="*/ 47733 h 96741"/>
              <a:gd name="connsiteX3" fmla="*/ 80078 w 131483"/>
              <a:gd name="connsiteY3" fmla="*/ 64985 h 96741"/>
              <a:gd name="connsiteX4" fmla="*/ 82383 w 131483"/>
              <a:gd name="connsiteY4" fmla="*/ 75337 h 96741"/>
              <a:gd name="connsiteX5" fmla="*/ 82959 w 131483"/>
              <a:gd name="connsiteY5" fmla="*/ 76487 h 96741"/>
              <a:gd name="connsiteX6" fmla="*/ 95633 w 131483"/>
              <a:gd name="connsiteY6" fmla="*/ 74187 h 96741"/>
              <a:gd name="connsiteX7" fmla="*/ 100818 w 131483"/>
              <a:gd name="connsiteY7" fmla="*/ 89139 h 96741"/>
              <a:gd name="connsiteX8" fmla="*/ 109460 w 131483"/>
              <a:gd name="connsiteY8" fmla="*/ 95465 h 96741"/>
              <a:gd name="connsiteX9" fmla="*/ 116373 w 131483"/>
              <a:gd name="connsiteY9" fmla="*/ 90289 h 96741"/>
              <a:gd name="connsiteX10" fmla="*/ 119829 w 131483"/>
              <a:gd name="connsiteY10" fmla="*/ 93165 h 96741"/>
              <a:gd name="connsiteX11" fmla="*/ 124438 w 131483"/>
              <a:gd name="connsiteY11" fmla="*/ 87989 h 96741"/>
              <a:gd name="connsiteX12" fmla="*/ 122710 w 131483"/>
              <a:gd name="connsiteY12" fmla="*/ 77637 h 96741"/>
              <a:gd name="connsiteX13" fmla="*/ 130775 w 131483"/>
              <a:gd name="connsiteY13" fmla="*/ 76487 h 96741"/>
              <a:gd name="connsiteX14" fmla="*/ 127895 w 131483"/>
              <a:gd name="connsiteY14" fmla="*/ 65560 h 96741"/>
              <a:gd name="connsiteX15" fmla="*/ 125014 w 131483"/>
              <a:gd name="connsiteY15" fmla="*/ 57509 h 96741"/>
              <a:gd name="connsiteX16" fmla="*/ 125014 w 131483"/>
              <a:gd name="connsiteY16" fmla="*/ 43707 h 96741"/>
              <a:gd name="connsiteX17" fmla="*/ 122710 w 131483"/>
              <a:gd name="connsiteY17" fmla="*/ 41407 h 96741"/>
              <a:gd name="connsiteX18" fmla="*/ 118677 w 131483"/>
              <a:gd name="connsiteY18" fmla="*/ 31630 h 96741"/>
              <a:gd name="connsiteX19" fmla="*/ 118677 w 131483"/>
              <a:gd name="connsiteY19" fmla="*/ 25304 h 96741"/>
              <a:gd name="connsiteX20" fmla="*/ 112340 w 131483"/>
              <a:gd name="connsiteY20" fmla="*/ 17253 h 96741"/>
              <a:gd name="connsiteX21" fmla="*/ 105427 w 131483"/>
              <a:gd name="connsiteY21" fmla="*/ 4601 h 96741"/>
              <a:gd name="connsiteX22" fmla="*/ 92753 w 131483"/>
              <a:gd name="connsiteY22" fmla="*/ 13227 h 96741"/>
              <a:gd name="connsiteX23" fmla="*/ 80654 w 131483"/>
              <a:gd name="connsiteY23" fmla="*/ 12077 h 96741"/>
              <a:gd name="connsiteX24" fmla="*/ 70861 w 131483"/>
              <a:gd name="connsiteY24" fmla="*/ 13802 h 96741"/>
              <a:gd name="connsiteX25" fmla="*/ 65676 w 131483"/>
              <a:gd name="connsiteY25" fmla="*/ 9201 h 96741"/>
              <a:gd name="connsiteX26" fmla="*/ 65676 w 131483"/>
              <a:gd name="connsiteY26" fmla="*/ 6326 h 96741"/>
              <a:gd name="connsiteX27" fmla="*/ 63947 w 131483"/>
              <a:gd name="connsiteY27" fmla="*/ 6901 h 96741"/>
              <a:gd name="connsiteX28" fmla="*/ 38023 w 131483"/>
              <a:gd name="connsiteY28" fmla="*/ 5176 h 96741"/>
              <a:gd name="connsiteX29" fmla="*/ 25349 w 131483"/>
              <a:gd name="connsiteY29" fmla="*/ 0 h 96741"/>
              <a:gd name="connsiteX30" fmla="*/ 21316 w 131483"/>
              <a:gd name="connsiteY30" fmla="*/ 8051 h 96741"/>
              <a:gd name="connsiteX31" fmla="*/ 22468 w 131483"/>
              <a:gd name="connsiteY31" fmla="*/ 16103 h 96741"/>
              <a:gd name="connsiteX32" fmla="*/ 16131 w 131483"/>
              <a:gd name="connsiteY32" fmla="*/ 18978 h 96741"/>
              <a:gd name="connsiteX33" fmla="*/ 1728 w 131483"/>
              <a:gd name="connsiteY33" fmla="*/ 27604 h 96741"/>
              <a:gd name="connsiteX34" fmla="*/ 0 w 131483"/>
              <a:gd name="connsiteY34" fmla="*/ 29330 h 96741"/>
              <a:gd name="connsiteX35" fmla="*/ 12674 w 131483"/>
              <a:gd name="connsiteY35" fmla="*/ 44857 h 96741"/>
              <a:gd name="connsiteX36" fmla="*/ 32262 w 131483"/>
              <a:gd name="connsiteY36" fmla="*/ 66135 h 96741"/>
              <a:gd name="connsiteX37" fmla="*/ 44936 w 131483"/>
              <a:gd name="connsiteY37" fmla="*/ 52333 h 9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1483" h="96741">
                <a:moveTo>
                  <a:pt x="44936" y="52333"/>
                </a:moveTo>
                <a:cubicBezTo>
                  <a:pt x="45512" y="48308"/>
                  <a:pt x="48969" y="49458"/>
                  <a:pt x="53002" y="50608"/>
                </a:cubicBezTo>
                <a:cubicBezTo>
                  <a:pt x="57034" y="51183"/>
                  <a:pt x="62219" y="47733"/>
                  <a:pt x="66252" y="47733"/>
                </a:cubicBezTo>
                <a:cubicBezTo>
                  <a:pt x="70285" y="47733"/>
                  <a:pt x="80078" y="61535"/>
                  <a:pt x="80078" y="64985"/>
                </a:cubicBezTo>
                <a:cubicBezTo>
                  <a:pt x="80078" y="69011"/>
                  <a:pt x="80654" y="72461"/>
                  <a:pt x="82383" y="75337"/>
                </a:cubicBezTo>
                <a:cubicBezTo>
                  <a:pt x="82383" y="75912"/>
                  <a:pt x="82959" y="75912"/>
                  <a:pt x="82959" y="76487"/>
                </a:cubicBezTo>
                <a:cubicBezTo>
                  <a:pt x="89296" y="74762"/>
                  <a:pt x="94481" y="74187"/>
                  <a:pt x="95633" y="74187"/>
                </a:cubicBezTo>
                <a:cubicBezTo>
                  <a:pt x="97362" y="74187"/>
                  <a:pt x="101394" y="83388"/>
                  <a:pt x="100818" y="89139"/>
                </a:cubicBezTo>
                <a:cubicBezTo>
                  <a:pt x="100242" y="94890"/>
                  <a:pt x="106579" y="98916"/>
                  <a:pt x="109460" y="95465"/>
                </a:cubicBezTo>
                <a:cubicBezTo>
                  <a:pt x="112340" y="91439"/>
                  <a:pt x="115797" y="86839"/>
                  <a:pt x="116373" y="90289"/>
                </a:cubicBezTo>
                <a:cubicBezTo>
                  <a:pt x="116373" y="91439"/>
                  <a:pt x="118101" y="92014"/>
                  <a:pt x="119829" y="93165"/>
                </a:cubicBezTo>
                <a:cubicBezTo>
                  <a:pt x="120982" y="90864"/>
                  <a:pt x="122710" y="89714"/>
                  <a:pt x="124438" y="87989"/>
                </a:cubicBezTo>
                <a:cubicBezTo>
                  <a:pt x="126743" y="85113"/>
                  <a:pt x="120982" y="81088"/>
                  <a:pt x="122710" y="77637"/>
                </a:cubicBezTo>
                <a:cubicBezTo>
                  <a:pt x="124438" y="73612"/>
                  <a:pt x="127895" y="79363"/>
                  <a:pt x="130775" y="76487"/>
                </a:cubicBezTo>
                <a:cubicBezTo>
                  <a:pt x="133656" y="73612"/>
                  <a:pt x="126743" y="67861"/>
                  <a:pt x="127895" y="65560"/>
                </a:cubicBezTo>
                <a:cubicBezTo>
                  <a:pt x="128471" y="63260"/>
                  <a:pt x="128471" y="59234"/>
                  <a:pt x="125014" y="57509"/>
                </a:cubicBezTo>
                <a:cubicBezTo>
                  <a:pt x="122134" y="55784"/>
                  <a:pt x="123862" y="49458"/>
                  <a:pt x="125014" y="43707"/>
                </a:cubicBezTo>
                <a:cubicBezTo>
                  <a:pt x="123862" y="43132"/>
                  <a:pt x="123286" y="41982"/>
                  <a:pt x="122710" y="41407"/>
                </a:cubicBezTo>
                <a:cubicBezTo>
                  <a:pt x="120406" y="38531"/>
                  <a:pt x="122134" y="31630"/>
                  <a:pt x="118677" y="31630"/>
                </a:cubicBezTo>
                <a:cubicBezTo>
                  <a:pt x="115221" y="31630"/>
                  <a:pt x="115797" y="26454"/>
                  <a:pt x="118677" y="25304"/>
                </a:cubicBezTo>
                <a:cubicBezTo>
                  <a:pt x="121558" y="24154"/>
                  <a:pt x="112340" y="20703"/>
                  <a:pt x="112340" y="17253"/>
                </a:cubicBezTo>
                <a:cubicBezTo>
                  <a:pt x="112340" y="13802"/>
                  <a:pt x="107731" y="4601"/>
                  <a:pt x="105427" y="4601"/>
                </a:cubicBezTo>
                <a:cubicBezTo>
                  <a:pt x="103123" y="4026"/>
                  <a:pt x="96209" y="13227"/>
                  <a:pt x="92753" y="13227"/>
                </a:cubicBezTo>
                <a:cubicBezTo>
                  <a:pt x="89872" y="13227"/>
                  <a:pt x="82959" y="6901"/>
                  <a:pt x="80654" y="12077"/>
                </a:cubicBezTo>
                <a:cubicBezTo>
                  <a:pt x="78350" y="17253"/>
                  <a:pt x="73741" y="9201"/>
                  <a:pt x="70861" y="13802"/>
                </a:cubicBezTo>
                <a:cubicBezTo>
                  <a:pt x="67980" y="17828"/>
                  <a:pt x="65676" y="9201"/>
                  <a:pt x="65676" y="9201"/>
                </a:cubicBezTo>
                <a:cubicBezTo>
                  <a:pt x="65676" y="9201"/>
                  <a:pt x="65676" y="8051"/>
                  <a:pt x="65676" y="6326"/>
                </a:cubicBezTo>
                <a:cubicBezTo>
                  <a:pt x="65100" y="6326"/>
                  <a:pt x="64524" y="6901"/>
                  <a:pt x="63947" y="6901"/>
                </a:cubicBezTo>
                <a:cubicBezTo>
                  <a:pt x="54730" y="9777"/>
                  <a:pt x="39175" y="8051"/>
                  <a:pt x="38023" y="5176"/>
                </a:cubicBezTo>
                <a:cubicBezTo>
                  <a:pt x="37447" y="2301"/>
                  <a:pt x="25349" y="0"/>
                  <a:pt x="25349" y="0"/>
                </a:cubicBezTo>
                <a:cubicBezTo>
                  <a:pt x="25349" y="0"/>
                  <a:pt x="25925" y="6326"/>
                  <a:pt x="21316" y="8051"/>
                </a:cubicBezTo>
                <a:cubicBezTo>
                  <a:pt x="17283" y="9777"/>
                  <a:pt x="22468" y="14377"/>
                  <a:pt x="22468" y="16103"/>
                </a:cubicBezTo>
                <a:cubicBezTo>
                  <a:pt x="22468" y="17828"/>
                  <a:pt x="19011" y="20128"/>
                  <a:pt x="16131" y="18978"/>
                </a:cubicBezTo>
                <a:cubicBezTo>
                  <a:pt x="13250" y="17828"/>
                  <a:pt x="5761" y="24729"/>
                  <a:pt x="1728" y="27604"/>
                </a:cubicBezTo>
                <a:cubicBezTo>
                  <a:pt x="1152" y="28180"/>
                  <a:pt x="576" y="28755"/>
                  <a:pt x="0" y="29330"/>
                </a:cubicBezTo>
                <a:cubicBezTo>
                  <a:pt x="5761" y="33930"/>
                  <a:pt x="5185" y="39681"/>
                  <a:pt x="12674" y="44857"/>
                </a:cubicBezTo>
                <a:cubicBezTo>
                  <a:pt x="19011" y="49458"/>
                  <a:pt x="27653" y="56359"/>
                  <a:pt x="32262" y="66135"/>
                </a:cubicBezTo>
                <a:cubicBezTo>
                  <a:pt x="38023" y="60960"/>
                  <a:pt x="44936" y="55209"/>
                  <a:pt x="44936" y="52333"/>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2" name="Freeform 248">
            <a:extLst>
              <a:ext uri="{FF2B5EF4-FFF2-40B4-BE49-F238E27FC236}">
                <a16:creationId xmlns:a16="http://schemas.microsoft.com/office/drawing/2014/main" id="{36CC5A9C-1984-707B-2673-54220C1F7378}"/>
              </a:ext>
            </a:extLst>
          </p:cNvPr>
          <p:cNvSpPr/>
          <p:nvPr/>
        </p:nvSpPr>
        <p:spPr>
          <a:xfrm>
            <a:off x="6402686" y="9709878"/>
            <a:ext cx="606286" cy="575799"/>
          </a:xfrm>
          <a:custGeom>
            <a:avLst/>
            <a:gdLst>
              <a:gd name="connsiteX0" fmla="*/ 59915 w 73269"/>
              <a:gd name="connsiteY0" fmla="*/ 41406 h 69585"/>
              <a:gd name="connsiteX1" fmla="*/ 54154 w 73269"/>
              <a:gd name="connsiteY1" fmla="*/ 36231 h 69585"/>
              <a:gd name="connsiteX2" fmla="*/ 55882 w 73269"/>
              <a:gd name="connsiteY2" fmla="*/ 23579 h 69585"/>
              <a:gd name="connsiteX3" fmla="*/ 56458 w 73269"/>
              <a:gd name="connsiteY3" fmla="*/ 18978 h 69585"/>
              <a:gd name="connsiteX4" fmla="*/ 53002 w 73269"/>
              <a:gd name="connsiteY4" fmla="*/ 16102 h 69585"/>
              <a:gd name="connsiteX5" fmla="*/ 46088 w 73269"/>
              <a:gd name="connsiteY5" fmla="*/ 21278 h 69585"/>
              <a:gd name="connsiteX6" fmla="*/ 37447 w 73269"/>
              <a:gd name="connsiteY6" fmla="*/ 14952 h 69585"/>
              <a:gd name="connsiteX7" fmla="*/ 32262 w 73269"/>
              <a:gd name="connsiteY7" fmla="*/ 0 h 69585"/>
              <a:gd name="connsiteX8" fmla="*/ 19588 w 73269"/>
              <a:gd name="connsiteY8" fmla="*/ 2300 h 69585"/>
              <a:gd name="connsiteX9" fmla="*/ 17859 w 73269"/>
              <a:gd name="connsiteY9" fmla="*/ 10927 h 69585"/>
              <a:gd name="connsiteX10" fmla="*/ 4033 w 73269"/>
              <a:gd name="connsiteY10" fmla="*/ 22428 h 69585"/>
              <a:gd name="connsiteX11" fmla="*/ 0 w 73269"/>
              <a:gd name="connsiteY11" fmla="*/ 28179 h 69585"/>
              <a:gd name="connsiteX12" fmla="*/ 23044 w 73269"/>
              <a:gd name="connsiteY12" fmla="*/ 43132 h 69585"/>
              <a:gd name="connsiteX13" fmla="*/ 63947 w 73269"/>
              <a:gd name="connsiteY13" fmla="*/ 69011 h 69585"/>
              <a:gd name="connsiteX14" fmla="*/ 67980 w 73269"/>
              <a:gd name="connsiteY14" fmla="*/ 69586 h 69585"/>
              <a:gd name="connsiteX15" fmla="*/ 73165 w 73269"/>
              <a:gd name="connsiteY15" fmla="*/ 53483 h 69585"/>
              <a:gd name="connsiteX16" fmla="*/ 59915 w 73269"/>
              <a:gd name="connsiteY16" fmla="*/ 41406 h 6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269" h="69585">
                <a:moveTo>
                  <a:pt x="59915" y="41406"/>
                </a:moveTo>
                <a:cubicBezTo>
                  <a:pt x="54730" y="37956"/>
                  <a:pt x="51849" y="37956"/>
                  <a:pt x="54154" y="36231"/>
                </a:cubicBezTo>
                <a:cubicBezTo>
                  <a:pt x="56458" y="34505"/>
                  <a:pt x="57034" y="29905"/>
                  <a:pt x="55882" y="23579"/>
                </a:cubicBezTo>
                <a:cubicBezTo>
                  <a:pt x="55882" y="21853"/>
                  <a:pt x="55882" y="20128"/>
                  <a:pt x="56458" y="18978"/>
                </a:cubicBezTo>
                <a:cubicBezTo>
                  <a:pt x="54730" y="18403"/>
                  <a:pt x="53002" y="17253"/>
                  <a:pt x="53002" y="16102"/>
                </a:cubicBezTo>
                <a:cubicBezTo>
                  <a:pt x="52425" y="12652"/>
                  <a:pt x="48969" y="17828"/>
                  <a:pt x="46088" y="21278"/>
                </a:cubicBezTo>
                <a:cubicBezTo>
                  <a:pt x="43208" y="25304"/>
                  <a:pt x="36871" y="20703"/>
                  <a:pt x="37447" y="14952"/>
                </a:cubicBezTo>
                <a:cubicBezTo>
                  <a:pt x="38023" y="9201"/>
                  <a:pt x="34566" y="0"/>
                  <a:pt x="32262" y="0"/>
                </a:cubicBezTo>
                <a:cubicBezTo>
                  <a:pt x="31110" y="0"/>
                  <a:pt x="25925" y="575"/>
                  <a:pt x="19588" y="2300"/>
                </a:cubicBezTo>
                <a:cubicBezTo>
                  <a:pt x="20164" y="5176"/>
                  <a:pt x="18435" y="8051"/>
                  <a:pt x="17859" y="10927"/>
                </a:cubicBezTo>
                <a:cubicBezTo>
                  <a:pt x="17283" y="14377"/>
                  <a:pt x="7489" y="19553"/>
                  <a:pt x="4033" y="22428"/>
                </a:cubicBezTo>
                <a:cubicBezTo>
                  <a:pt x="2881" y="23579"/>
                  <a:pt x="1728" y="25304"/>
                  <a:pt x="0" y="28179"/>
                </a:cubicBezTo>
                <a:cubicBezTo>
                  <a:pt x="7489" y="32780"/>
                  <a:pt x="16131" y="37956"/>
                  <a:pt x="23044" y="43132"/>
                </a:cubicBezTo>
                <a:cubicBezTo>
                  <a:pt x="35718" y="52908"/>
                  <a:pt x="54730" y="65560"/>
                  <a:pt x="63947" y="69011"/>
                </a:cubicBezTo>
                <a:cubicBezTo>
                  <a:pt x="65100" y="69586"/>
                  <a:pt x="66828" y="69586"/>
                  <a:pt x="67980" y="69586"/>
                </a:cubicBezTo>
                <a:cubicBezTo>
                  <a:pt x="70285" y="59809"/>
                  <a:pt x="72589" y="58659"/>
                  <a:pt x="73165" y="53483"/>
                </a:cubicBezTo>
                <a:cubicBezTo>
                  <a:pt x="74317" y="48883"/>
                  <a:pt x="65676" y="44857"/>
                  <a:pt x="59915" y="4140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3" name="Freeform 249">
            <a:extLst>
              <a:ext uri="{FF2B5EF4-FFF2-40B4-BE49-F238E27FC236}">
                <a16:creationId xmlns:a16="http://schemas.microsoft.com/office/drawing/2014/main" id="{DC1E3813-C37B-0A1F-DF3B-D73559C9340A}"/>
              </a:ext>
            </a:extLst>
          </p:cNvPr>
          <p:cNvSpPr/>
          <p:nvPr/>
        </p:nvSpPr>
        <p:spPr>
          <a:xfrm>
            <a:off x="6154799" y="9495729"/>
            <a:ext cx="415192" cy="456837"/>
          </a:xfrm>
          <a:custGeom>
            <a:avLst/>
            <a:gdLst>
              <a:gd name="connsiteX0" fmla="*/ 48393 w 50176"/>
              <a:gd name="connsiteY0" fmla="*/ 37956 h 55208"/>
              <a:gd name="connsiteX1" fmla="*/ 49545 w 50176"/>
              <a:gd name="connsiteY1" fmla="*/ 27604 h 55208"/>
              <a:gd name="connsiteX2" fmla="*/ 47240 w 50176"/>
              <a:gd name="connsiteY2" fmla="*/ 17253 h 55208"/>
              <a:gd name="connsiteX3" fmla="*/ 33414 w 50176"/>
              <a:gd name="connsiteY3" fmla="*/ 0 h 55208"/>
              <a:gd name="connsiteX4" fmla="*/ 20164 w 50176"/>
              <a:gd name="connsiteY4" fmla="*/ 2875 h 55208"/>
              <a:gd name="connsiteX5" fmla="*/ 12098 w 50176"/>
              <a:gd name="connsiteY5" fmla="*/ 4601 h 55208"/>
              <a:gd name="connsiteX6" fmla="*/ 0 w 50176"/>
              <a:gd name="connsiteY6" fmla="*/ 17828 h 55208"/>
              <a:gd name="connsiteX7" fmla="*/ 2304 w 50176"/>
              <a:gd name="connsiteY7" fmla="*/ 24154 h 55208"/>
              <a:gd name="connsiteX8" fmla="*/ 16131 w 50176"/>
              <a:gd name="connsiteY8" fmla="*/ 46007 h 55208"/>
              <a:gd name="connsiteX9" fmla="*/ 29957 w 50176"/>
              <a:gd name="connsiteY9" fmla="*/ 55209 h 55208"/>
              <a:gd name="connsiteX10" fmla="*/ 33990 w 50176"/>
              <a:gd name="connsiteY10" fmla="*/ 49458 h 55208"/>
              <a:gd name="connsiteX11" fmla="*/ 48393 w 50176"/>
              <a:gd name="connsiteY11" fmla="*/ 37956 h 5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176" h="55208">
                <a:moveTo>
                  <a:pt x="48393" y="37956"/>
                </a:moveTo>
                <a:cubicBezTo>
                  <a:pt x="48969" y="34505"/>
                  <a:pt x="51273" y="31055"/>
                  <a:pt x="49545" y="27604"/>
                </a:cubicBezTo>
                <a:cubicBezTo>
                  <a:pt x="47816" y="24729"/>
                  <a:pt x="47240" y="21278"/>
                  <a:pt x="47240" y="17253"/>
                </a:cubicBezTo>
                <a:cubicBezTo>
                  <a:pt x="47240" y="13227"/>
                  <a:pt x="36871" y="0"/>
                  <a:pt x="33414" y="0"/>
                </a:cubicBezTo>
                <a:cubicBezTo>
                  <a:pt x="29381" y="0"/>
                  <a:pt x="24196" y="3451"/>
                  <a:pt x="20164" y="2875"/>
                </a:cubicBezTo>
                <a:cubicBezTo>
                  <a:pt x="16131" y="2300"/>
                  <a:pt x="12098" y="575"/>
                  <a:pt x="12098" y="4601"/>
                </a:cubicBezTo>
                <a:cubicBezTo>
                  <a:pt x="12098" y="7476"/>
                  <a:pt x="5185" y="13227"/>
                  <a:pt x="0" y="17828"/>
                </a:cubicBezTo>
                <a:cubicBezTo>
                  <a:pt x="1152" y="19553"/>
                  <a:pt x="1728" y="21853"/>
                  <a:pt x="2304" y="24154"/>
                </a:cubicBezTo>
                <a:cubicBezTo>
                  <a:pt x="6337" y="38531"/>
                  <a:pt x="10370" y="41406"/>
                  <a:pt x="16131" y="46007"/>
                </a:cubicBezTo>
                <a:cubicBezTo>
                  <a:pt x="19011" y="48308"/>
                  <a:pt x="24196" y="51758"/>
                  <a:pt x="29957" y="55209"/>
                </a:cubicBezTo>
                <a:cubicBezTo>
                  <a:pt x="31686" y="52333"/>
                  <a:pt x="32838" y="50033"/>
                  <a:pt x="33990" y="49458"/>
                </a:cubicBezTo>
                <a:cubicBezTo>
                  <a:pt x="38023" y="46582"/>
                  <a:pt x="47816" y="41406"/>
                  <a:pt x="48393" y="3795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5" name="Freeform 251">
            <a:extLst>
              <a:ext uri="{FF2B5EF4-FFF2-40B4-BE49-F238E27FC236}">
                <a16:creationId xmlns:a16="http://schemas.microsoft.com/office/drawing/2014/main" id="{2A5EB095-F8D5-6FBC-066A-FB6168244426}"/>
              </a:ext>
            </a:extLst>
          </p:cNvPr>
          <p:cNvSpPr/>
          <p:nvPr/>
        </p:nvSpPr>
        <p:spPr>
          <a:xfrm>
            <a:off x="5595987" y="6868915"/>
            <a:ext cx="1760118" cy="1927288"/>
          </a:xfrm>
          <a:custGeom>
            <a:avLst/>
            <a:gdLst>
              <a:gd name="connsiteX0" fmla="*/ 17411 w 212709"/>
              <a:gd name="connsiteY0" fmla="*/ 201282 h 232911"/>
              <a:gd name="connsiteX1" fmla="*/ 33542 w 212709"/>
              <a:gd name="connsiteY1" fmla="*/ 201282 h 232911"/>
              <a:gd name="connsiteX2" fmla="*/ 47368 w 212709"/>
              <a:gd name="connsiteY2" fmla="*/ 200131 h 232911"/>
              <a:gd name="connsiteX3" fmla="*/ 57162 w 212709"/>
              <a:gd name="connsiteY3" fmla="*/ 208758 h 232911"/>
              <a:gd name="connsiteX4" fmla="*/ 63499 w 212709"/>
              <a:gd name="connsiteY4" fmla="*/ 208758 h 232911"/>
              <a:gd name="connsiteX5" fmla="*/ 75597 w 212709"/>
              <a:gd name="connsiteY5" fmla="*/ 224860 h 232911"/>
              <a:gd name="connsiteX6" fmla="*/ 83663 w 212709"/>
              <a:gd name="connsiteY6" fmla="*/ 232912 h 232911"/>
              <a:gd name="connsiteX7" fmla="*/ 92880 w 212709"/>
              <a:gd name="connsiteY7" fmla="*/ 227161 h 232911"/>
              <a:gd name="connsiteX8" fmla="*/ 103250 w 212709"/>
              <a:gd name="connsiteY8" fmla="*/ 223135 h 232911"/>
              <a:gd name="connsiteX9" fmla="*/ 112468 w 212709"/>
              <a:gd name="connsiteY9" fmla="*/ 221410 h 232911"/>
              <a:gd name="connsiteX10" fmla="*/ 123990 w 212709"/>
              <a:gd name="connsiteY10" fmla="*/ 221985 h 232911"/>
              <a:gd name="connsiteX11" fmla="*/ 134936 w 212709"/>
              <a:gd name="connsiteY11" fmla="*/ 219109 h 232911"/>
              <a:gd name="connsiteX12" fmla="*/ 203492 w 212709"/>
              <a:gd name="connsiteY12" fmla="*/ 218534 h 232911"/>
              <a:gd name="connsiteX13" fmla="*/ 205796 w 212709"/>
              <a:gd name="connsiteY13" fmla="*/ 203582 h 232911"/>
              <a:gd name="connsiteX14" fmla="*/ 200035 w 212709"/>
              <a:gd name="connsiteY14" fmla="*/ 197831 h 232911"/>
              <a:gd name="connsiteX15" fmla="*/ 183329 w 212709"/>
              <a:gd name="connsiteY15" fmla="*/ 43132 h 232911"/>
              <a:gd name="connsiteX16" fmla="*/ 212710 w 212709"/>
              <a:gd name="connsiteY16" fmla="*/ 43132 h 232911"/>
              <a:gd name="connsiteX17" fmla="*/ 150491 w 212709"/>
              <a:gd name="connsiteY17" fmla="*/ 2875 h 232911"/>
              <a:gd name="connsiteX18" fmla="*/ 147034 w 212709"/>
              <a:gd name="connsiteY18" fmla="*/ 0 h 232911"/>
              <a:gd name="connsiteX19" fmla="*/ 146458 w 212709"/>
              <a:gd name="connsiteY19" fmla="*/ 25304 h 232911"/>
              <a:gd name="connsiteX20" fmla="*/ 87695 w 212709"/>
              <a:gd name="connsiteY20" fmla="*/ 25304 h 232911"/>
              <a:gd name="connsiteX21" fmla="*/ 87695 w 212709"/>
              <a:gd name="connsiteY21" fmla="*/ 71886 h 232911"/>
              <a:gd name="connsiteX22" fmla="*/ 69260 w 212709"/>
              <a:gd name="connsiteY22" fmla="*/ 85113 h 232911"/>
              <a:gd name="connsiteX23" fmla="*/ 69260 w 212709"/>
              <a:gd name="connsiteY23" fmla="*/ 112718 h 232911"/>
              <a:gd name="connsiteX24" fmla="*/ 128 w 212709"/>
              <a:gd name="connsiteY24" fmla="*/ 112718 h 232911"/>
              <a:gd name="connsiteX25" fmla="*/ 9922 w 212709"/>
              <a:gd name="connsiteY25" fmla="*/ 132271 h 232911"/>
              <a:gd name="connsiteX26" fmla="*/ 13954 w 212709"/>
              <a:gd name="connsiteY26" fmla="*/ 160450 h 232911"/>
              <a:gd name="connsiteX27" fmla="*/ 8193 w 212709"/>
              <a:gd name="connsiteY27" fmla="*/ 194956 h 232911"/>
              <a:gd name="connsiteX28" fmla="*/ 5313 w 212709"/>
              <a:gd name="connsiteY28" fmla="*/ 209908 h 232911"/>
              <a:gd name="connsiteX29" fmla="*/ 6465 w 212709"/>
              <a:gd name="connsiteY29" fmla="*/ 209908 h 232911"/>
              <a:gd name="connsiteX30" fmla="*/ 17411 w 212709"/>
              <a:gd name="connsiteY30" fmla="*/ 201282 h 23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2709" h="232911">
                <a:moveTo>
                  <a:pt x="17411" y="201282"/>
                </a:moveTo>
                <a:cubicBezTo>
                  <a:pt x="23748" y="202432"/>
                  <a:pt x="33542" y="201282"/>
                  <a:pt x="33542" y="201282"/>
                </a:cubicBezTo>
                <a:cubicBezTo>
                  <a:pt x="33542" y="201282"/>
                  <a:pt x="42183" y="197831"/>
                  <a:pt x="47368" y="200131"/>
                </a:cubicBezTo>
                <a:cubicBezTo>
                  <a:pt x="52553" y="202432"/>
                  <a:pt x="57162" y="208758"/>
                  <a:pt x="57162" y="208758"/>
                </a:cubicBezTo>
                <a:lnTo>
                  <a:pt x="63499" y="208758"/>
                </a:lnTo>
                <a:cubicBezTo>
                  <a:pt x="63499" y="208758"/>
                  <a:pt x="68684" y="222560"/>
                  <a:pt x="75597" y="224860"/>
                </a:cubicBezTo>
                <a:cubicBezTo>
                  <a:pt x="79630" y="226011"/>
                  <a:pt x="82511" y="230036"/>
                  <a:pt x="83663" y="232912"/>
                </a:cubicBezTo>
                <a:cubicBezTo>
                  <a:pt x="88848" y="232912"/>
                  <a:pt x="92880" y="231186"/>
                  <a:pt x="92880" y="227161"/>
                </a:cubicBezTo>
                <a:cubicBezTo>
                  <a:pt x="92880" y="222560"/>
                  <a:pt x="95185" y="216234"/>
                  <a:pt x="103250" y="223135"/>
                </a:cubicBezTo>
                <a:cubicBezTo>
                  <a:pt x="111316" y="230036"/>
                  <a:pt x="111316" y="223710"/>
                  <a:pt x="112468" y="221410"/>
                </a:cubicBezTo>
                <a:cubicBezTo>
                  <a:pt x="114196" y="219109"/>
                  <a:pt x="119381" y="221985"/>
                  <a:pt x="123990" y="221985"/>
                </a:cubicBezTo>
                <a:cubicBezTo>
                  <a:pt x="128599" y="221985"/>
                  <a:pt x="134936" y="219109"/>
                  <a:pt x="134936" y="219109"/>
                </a:cubicBezTo>
                <a:cubicBezTo>
                  <a:pt x="134936" y="219109"/>
                  <a:pt x="200035" y="219685"/>
                  <a:pt x="203492" y="218534"/>
                </a:cubicBezTo>
                <a:cubicBezTo>
                  <a:pt x="206373" y="216809"/>
                  <a:pt x="205796" y="203582"/>
                  <a:pt x="205796" y="203582"/>
                </a:cubicBezTo>
                <a:lnTo>
                  <a:pt x="200035" y="197831"/>
                </a:lnTo>
                <a:lnTo>
                  <a:pt x="183329" y="43132"/>
                </a:lnTo>
                <a:lnTo>
                  <a:pt x="212710" y="43132"/>
                </a:lnTo>
                <a:cubicBezTo>
                  <a:pt x="181024" y="22428"/>
                  <a:pt x="153947" y="4601"/>
                  <a:pt x="150491" y="2875"/>
                </a:cubicBezTo>
                <a:cubicBezTo>
                  <a:pt x="148762" y="1725"/>
                  <a:pt x="147610" y="575"/>
                  <a:pt x="147034" y="0"/>
                </a:cubicBezTo>
                <a:cubicBezTo>
                  <a:pt x="147610" y="12077"/>
                  <a:pt x="147610" y="24729"/>
                  <a:pt x="146458" y="25304"/>
                </a:cubicBezTo>
                <a:cubicBezTo>
                  <a:pt x="144730" y="26454"/>
                  <a:pt x="87695" y="25304"/>
                  <a:pt x="87695" y="25304"/>
                </a:cubicBezTo>
                <a:cubicBezTo>
                  <a:pt x="87695" y="25304"/>
                  <a:pt x="87695" y="67861"/>
                  <a:pt x="87695" y="71886"/>
                </a:cubicBezTo>
                <a:cubicBezTo>
                  <a:pt x="87695" y="75912"/>
                  <a:pt x="69260" y="81088"/>
                  <a:pt x="69260" y="85113"/>
                </a:cubicBezTo>
                <a:cubicBezTo>
                  <a:pt x="69260" y="89139"/>
                  <a:pt x="69260" y="112718"/>
                  <a:pt x="69260" y="112718"/>
                </a:cubicBezTo>
                <a:lnTo>
                  <a:pt x="128" y="112718"/>
                </a:lnTo>
                <a:cubicBezTo>
                  <a:pt x="-1024" y="124220"/>
                  <a:pt x="5889" y="128245"/>
                  <a:pt x="9922" y="132271"/>
                </a:cubicBezTo>
                <a:cubicBezTo>
                  <a:pt x="15106" y="138597"/>
                  <a:pt x="5889" y="149523"/>
                  <a:pt x="13954" y="160450"/>
                </a:cubicBezTo>
                <a:cubicBezTo>
                  <a:pt x="22020" y="171377"/>
                  <a:pt x="12226" y="188630"/>
                  <a:pt x="8193" y="194956"/>
                </a:cubicBezTo>
                <a:cubicBezTo>
                  <a:pt x="5889" y="198406"/>
                  <a:pt x="5889" y="204157"/>
                  <a:pt x="5313" y="209908"/>
                </a:cubicBezTo>
                <a:cubicBezTo>
                  <a:pt x="5889" y="209908"/>
                  <a:pt x="5889" y="209908"/>
                  <a:pt x="6465" y="209908"/>
                </a:cubicBezTo>
                <a:cubicBezTo>
                  <a:pt x="12226" y="208183"/>
                  <a:pt x="11074" y="199556"/>
                  <a:pt x="17411" y="201282"/>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6" name="Freeform 252">
            <a:extLst>
              <a:ext uri="{FF2B5EF4-FFF2-40B4-BE49-F238E27FC236}">
                <a16:creationId xmlns:a16="http://schemas.microsoft.com/office/drawing/2014/main" id="{2E05B8E7-D06A-F2C8-75E1-0252F6D7F730}"/>
              </a:ext>
            </a:extLst>
          </p:cNvPr>
          <p:cNvSpPr/>
          <p:nvPr/>
        </p:nvSpPr>
        <p:spPr>
          <a:xfrm>
            <a:off x="6297810" y="7225809"/>
            <a:ext cx="2422458" cy="2250147"/>
          </a:xfrm>
          <a:custGeom>
            <a:avLst/>
            <a:gdLst>
              <a:gd name="connsiteX0" fmla="*/ 276529 w 292752"/>
              <a:gd name="connsiteY0" fmla="*/ 113868 h 271928"/>
              <a:gd name="connsiteX1" fmla="*/ 267888 w 292752"/>
              <a:gd name="connsiteY1" fmla="*/ 95465 h 271928"/>
              <a:gd name="connsiteX2" fmla="*/ 248300 w 292752"/>
              <a:gd name="connsiteY2" fmla="*/ 89139 h 271928"/>
              <a:gd name="connsiteX3" fmla="*/ 237354 w 292752"/>
              <a:gd name="connsiteY3" fmla="*/ 73037 h 271928"/>
              <a:gd name="connsiteX4" fmla="*/ 129047 w 292752"/>
              <a:gd name="connsiteY4" fmla="*/ 0 h 271928"/>
              <a:gd name="connsiteX5" fmla="*/ 99666 w 292752"/>
              <a:gd name="connsiteY5" fmla="*/ 0 h 271928"/>
              <a:gd name="connsiteX6" fmla="*/ 116373 w 292752"/>
              <a:gd name="connsiteY6" fmla="*/ 154699 h 271928"/>
              <a:gd name="connsiteX7" fmla="*/ 122134 w 292752"/>
              <a:gd name="connsiteY7" fmla="*/ 160450 h 271928"/>
              <a:gd name="connsiteX8" fmla="*/ 119829 w 292752"/>
              <a:gd name="connsiteY8" fmla="*/ 175403 h 271928"/>
              <a:gd name="connsiteX9" fmla="*/ 51273 w 292752"/>
              <a:gd name="connsiteY9" fmla="*/ 175978 h 271928"/>
              <a:gd name="connsiteX10" fmla="*/ 40327 w 292752"/>
              <a:gd name="connsiteY10" fmla="*/ 178853 h 271928"/>
              <a:gd name="connsiteX11" fmla="*/ 28805 w 292752"/>
              <a:gd name="connsiteY11" fmla="*/ 178278 h 271928"/>
              <a:gd name="connsiteX12" fmla="*/ 19587 w 292752"/>
              <a:gd name="connsiteY12" fmla="*/ 180003 h 271928"/>
              <a:gd name="connsiteX13" fmla="*/ 9218 w 292752"/>
              <a:gd name="connsiteY13" fmla="*/ 184029 h 271928"/>
              <a:gd name="connsiteX14" fmla="*/ 0 w 292752"/>
              <a:gd name="connsiteY14" fmla="*/ 189780 h 271928"/>
              <a:gd name="connsiteX15" fmla="*/ 1728 w 292752"/>
              <a:gd name="connsiteY15" fmla="*/ 193805 h 271928"/>
              <a:gd name="connsiteX16" fmla="*/ 5185 w 292752"/>
              <a:gd name="connsiteY16" fmla="*/ 198406 h 271928"/>
              <a:gd name="connsiteX17" fmla="*/ 8065 w 292752"/>
              <a:gd name="connsiteY17" fmla="*/ 209333 h 271928"/>
              <a:gd name="connsiteX18" fmla="*/ 17283 w 292752"/>
              <a:gd name="connsiteY18" fmla="*/ 220835 h 271928"/>
              <a:gd name="connsiteX19" fmla="*/ 17283 w 292752"/>
              <a:gd name="connsiteY19" fmla="*/ 234637 h 271928"/>
              <a:gd name="connsiteX20" fmla="*/ 22468 w 292752"/>
              <a:gd name="connsiteY20" fmla="*/ 239238 h 271928"/>
              <a:gd name="connsiteX21" fmla="*/ 32262 w 292752"/>
              <a:gd name="connsiteY21" fmla="*/ 237512 h 271928"/>
              <a:gd name="connsiteX22" fmla="*/ 44360 w 292752"/>
              <a:gd name="connsiteY22" fmla="*/ 238662 h 271928"/>
              <a:gd name="connsiteX23" fmla="*/ 57034 w 292752"/>
              <a:gd name="connsiteY23" fmla="*/ 230036 h 271928"/>
              <a:gd name="connsiteX24" fmla="*/ 63947 w 292752"/>
              <a:gd name="connsiteY24" fmla="*/ 242688 h 271928"/>
              <a:gd name="connsiteX25" fmla="*/ 70284 w 292752"/>
              <a:gd name="connsiteY25" fmla="*/ 250739 h 271928"/>
              <a:gd name="connsiteX26" fmla="*/ 70284 w 292752"/>
              <a:gd name="connsiteY26" fmla="*/ 257065 h 271928"/>
              <a:gd name="connsiteX27" fmla="*/ 74317 w 292752"/>
              <a:gd name="connsiteY27" fmla="*/ 266842 h 271928"/>
              <a:gd name="connsiteX28" fmla="*/ 82383 w 292752"/>
              <a:gd name="connsiteY28" fmla="*/ 267992 h 271928"/>
              <a:gd name="connsiteX29" fmla="*/ 91024 w 292752"/>
              <a:gd name="connsiteY29" fmla="*/ 270868 h 271928"/>
              <a:gd name="connsiteX30" fmla="*/ 100818 w 292752"/>
              <a:gd name="connsiteY30" fmla="*/ 266267 h 271928"/>
              <a:gd name="connsiteX31" fmla="*/ 109460 w 292752"/>
              <a:gd name="connsiteY31" fmla="*/ 265117 h 271928"/>
              <a:gd name="connsiteX32" fmla="*/ 115797 w 292752"/>
              <a:gd name="connsiteY32" fmla="*/ 267417 h 271928"/>
              <a:gd name="connsiteX33" fmla="*/ 120982 w 292752"/>
              <a:gd name="connsiteY33" fmla="*/ 266267 h 271928"/>
              <a:gd name="connsiteX34" fmla="*/ 125590 w 292752"/>
              <a:gd name="connsiteY34" fmla="*/ 253040 h 271928"/>
              <a:gd name="connsiteX35" fmla="*/ 124438 w 292752"/>
              <a:gd name="connsiteY35" fmla="*/ 241538 h 271928"/>
              <a:gd name="connsiteX36" fmla="*/ 138265 w 292752"/>
              <a:gd name="connsiteY36" fmla="*/ 235212 h 271928"/>
              <a:gd name="connsiteX37" fmla="*/ 144026 w 292752"/>
              <a:gd name="connsiteY37" fmla="*/ 224285 h 271928"/>
              <a:gd name="connsiteX38" fmla="*/ 149787 w 292752"/>
              <a:gd name="connsiteY38" fmla="*/ 211633 h 271928"/>
              <a:gd name="connsiteX39" fmla="*/ 160733 w 292752"/>
              <a:gd name="connsiteY39" fmla="*/ 212208 h 271928"/>
              <a:gd name="connsiteX40" fmla="*/ 168222 w 292752"/>
              <a:gd name="connsiteY40" fmla="*/ 204157 h 271928"/>
              <a:gd name="connsiteX41" fmla="*/ 176287 w 292752"/>
              <a:gd name="connsiteY41" fmla="*/ 200131 h 271928"/>
              <a:gd name="connsiteX42" fmla="*/ 183201 w 292752"/>
              <a:gd name="connsiteY42" fmla="*/ 196681 h 271928"/>
              <a:gd name="connsiteX43" fmla="*/ 198179 w 292752"/>
              <a:gd name="connsiteY43" fmla="*/ 190355 h 271928"/>
              <a:gd name="connsiteX44" fmla="*/ 210854 w 292752"/>
              <a:gd name="connsiteY44" fmla="*/ 184604 h 271928"/>
              <a:gd name="connsiteX45" fmla="*/ 233321 w 292752"/>
              <a:gd name="connsiteY45" fmla="*/ 185754 h 271928"/>
              <a:gd name="connsiteX46" fmla="*/ 247148 w 292752"/>
              <a:gd name="connsiteY46" fmla="*/ 181153 h 271928"/>
              <a:gd name="connsiteX47" fmla="*/ 274801 w 292752"/>
              <a:gd name="connsiteY47" fmla="*/ 178853 h 271928"/>
              <a:gd name="connsiteX48" fmla="*/ 285747 w 292752"/>
              <a:gd name="connsiteY48" fmla="*/ 170802 h 271928"/>
              <a:gd name="connsiteX49" fmla="*/ 291508 w 292752"/>
              <a:gd name="connsiteY49" fmla="*/ 158150 h 271928"/>
              <a:gd name="connsiteX50" fmla="*/ 292660 w 292752"/>
              <a:gd name="connsiteY50" fmla="*/ 111567 h 271928"/>
              <a:gd name="connsiteX51" fmla="*/ 276529 w 292752"/>
              <a:gd name="connsiteY51" fmla="*/ 113868 h 2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2752" h="271928">
                <a:moveTo>
                  <a:pt x="276529" y="113868"/>
                </a:moveTo>
                <a:cubicBezTo>
                  <a:pt x="276529" y="113868"/>
                  <a:pt x="276529" y="100066"/>
                  <a:pt x="267888" y="95465"/>
                </a:cubicBezTo>
                <a:cubicBezTo>
                  <a:pt x="259246" y="90289"/>
                  <a:pt x="248300" y="89139"/>
                  <a:pt x="248300" y="89139"/>
                </a:cubicBezTo>
                <a:cubicBezTo>
                  <a:pt x="248300" y="89139"/>
                  <a:pt x="241963" y="78212"/>
                  <a:pt x="237354" y="73037"/>
                </a:cubicBezTo>
                <a:cubicBezTo>
                  <a:pt x="234474" y="70161"/>
                  <a:pt x="176863" y="31630"/>
                  <a:pt x="129047" y="0"/>
                </a:cubicBezTo>
                <a:lnTo>
                  <a:pt x="99666" y="0"/>
                </a:lnTo>
                <a:lnTo>
                  <a:pt x="116373" y="154699"/>
                </a:lnTo>
                <a:lnTo>
                  <a:pt x="122134" y="160450"/>
                </a:lnTo>
                <a:cubicBezTo>
                  <a:pt x="122134" y="160450"/>
                  <a:pt x="122710" y="173677"/>
                  <a:pt x="119829" y="175403"/>
                </a:cubicBezTo>
                <a:cubicBezTo>
                  <a:pt x="116949" y="177128"/>
                  <a:pt x="51273" y="175978"/>
                  <a:pt x="51273" y="175978"/>
                </a:cubicBezTo>
                <a:cubicBezTo>
                  <a:pt x="51273" y="175978"/>
                  <a:pt x="44936" y="178853"/>
                  <a:pt x="40327" y="178853"/>
                </a:cubicBezTo>
                <a:cubicBezTo>
                  <a:pt x="35718" y="178853"/>
                  <a:pt x="29957" y="175978"/>
                  <a:pt x="28805" y="178278"/>
                </a:cubicBezTo>
                <a:cubicBezTo>
                  <a:pt x="27077" y="180578"/>
                  <a:pt x="27077" y="186904"/>
                  <a:pt x="19587" y="180003"/>
                </a:cubicBezTo>
                <a:cubicBezTo>
                  <a:pt x="11522" y="173102"/>
                  <a:pt x="9218" y="179428"/>
                  <a:pt x="9218" y="184029"/>
                </a:cubicBezTo>
                <a:cubicBezTo>
                  <a:pt x="9218" y="188055"/>
                  <a:pt x="5185" y="189780"/>
                  <a:pt x="0" y="189780"/>
                </a:cubicBezTo>
                <a:cubicBezTo>
                  <a:pt x="1152" y="192080"/>
                  <a:pt x="1728" y="193805"/>
                  <a:pt x="1728" y="193805"/>
                </a:cubicBezTo>
                <a:lnTo>
                  <a:pt x="5185" y="198406"/>
                </a:lnTo>
                <a:cubicBezTo>
                  <a:pt x="5185" y="198406"/>
                  <a:pt x="4609" y="205882"/>
                  <a:pt x="8065" y="209333"/>
                </a:cubicBezTo>
                <a:cubicBezTo>
                  <a:pt x="10946" y="212208"/>
                  <a:pt x="16707" y="217959"/>
                  <a:pt x="17283" y="220835"/>
                </a:cubicBezTo>
                <a:cubicBezTo>
                  <a:pt x="17859" y="223710"/>
                  <a:pt x="17283" y="234637"/>
                  <a:pt x="17283" y="234637"/>
                </a:cubicBezTo>
                <a:cubicBezTo>
                  <a:pt x="17283" y="234637"/>
                  <a:pt x="19587" y="243263"/>
                  <a:pt x="22468" y="239238"/>
                </a:cubicBezTo>
                <a:cubicBezTo>
                  <a:pt x="25348" y="235212"/>
                  <a:pt x="29957" y="242688"/>
                  <a:pt x="32262" y="237512"/>
                </a:cubicBezTo>
                <a:cubicBezTo>
                  <a:pt x="34566" y="232336"/>
                  <a:pt x="40903" y="238662"/>
                  <a:pt x="44360" y="238662"/>
                </a:cubicBezTo>
                <a:cubicBezTo>
                  <a:pt x="47240" y="238662"/>
                  <a:pt x="54730" y="229461"/>
                  <a:pt x="57034" y="230036"/>
                </a:cubicBezTo>
                <a:cubicBezTo>
                  <a:pt x="59339" y="230611"/>
                  <a:pt x="63947" y="239238"/>
                  <a:pt x="63947" y="242688"/>
                </a:cubicBezTo>
                <a:cubicBezTo>
                  <a:pt x="63947" y="246139"/>
                  <a:pt x="73165" y="250164"/>
                  <a:pt x="70284" y="250739"/>
                </a:cubicBezTo>
                <a:cubicBezTo>
                  <a:pt x="67404" y="251890"/>
                  <a:pt x="66828" y="257065"/>
                  <a:pt x="70284" y="257065"/>
                </a:cubicBezTo>
                <a:cubicBezTo>
                  <a:pt x="73741" y="257065"/>
                  <a:pt x="72589" y="263966"/>
                  <a:pt x="74317" y="266842"/>
                </a:cubicBezTo>
                <a:cubicBezTo>
                  <a:pt x="76622" y="269717"/>
                  <a:pt x="80654" y="272593"/>
                  <a:pt x="82383" y="267992"/>
                </a:cubicBezTo>
                <a:cubicBezTo>
                  <a:pt x="84687" y="263391"/>
                  <a:pt x="89296" y="267417"/>
                  <a:pt x="91024" y="270868"/>
                </a:cubicBezTo>
                <a:cubicBezTo>
                  <a:pt x="93329" y="273743"/>
                  <a:pt x="99666" y="270292"/>
                  <a:pt x="100818" y="266267"/>
                </a:cubicBezTo>
                <a:cubicBezTo>
                  <a:pt x="101970" y="262241"/>
                  <a:pt x="110036" y="260516"/>
                  <a:pt x="109460" y="265117"/>
                </a:cubicBezTo>
                <a:cubicBezTo>
                  <a:pt x="108883" y="269717"/>
                  <a:pt x="110612" y="270868"/>
                  <a:pt x="115797" y="267417"/>
                </a:cubicBezTo>
                <a:cubicBezTo>
                  <a:pt x="117525" y="266267"/>
                  <a:pt x="119253" y="266267"/>
                  <a:pt x="120982" y="266267"/>
                </a:cubicBezTo>
                <a:cubicBezTo>
                  <a:pt x="122710" y="260516"/>
                  <a:pt x="125014" y="254765"/>
                  <a:pt x="125590" y="253040"/>
                </a:cubicBezTo>
                <a:cubicBezTo>
                  <a:pt x="127319" y="250164"/>
                  <a:pt x="122134" y="242688"/>
                  <a:pt x="124438" y="241538"/>
                </a:cubicBezTo>
                <a:cubicBezTo>
                  <a:pt x="127319" y="240388"/>
                  <a:pt x="135960" y="242688"/>
                  <a:pt x="138265" y="235212"/>
                </a:cubicBezTo>
                <a:cubicBezTo>
                  <a:pt x="141145" y="227736"/>
                  <a:pt x="144026" y="224285"/>
                  <a:pt x="144026" y="224285"/>
                </a:cubicBezTo>
                <a:cubicBezTo>
                  <a:pt x="144026" y="224285"/>
                  <a:pt x="145178" y="208758"/>
                  <a:pt x="149787" y="211633"/>
                </a:cubicBezTo>
                <a:cubicBezTo>
                  <a:pt x="154395" y="213934"/>
                  <a:pt x="160157" y="218534"/>
                  <a:pt x="160733" y="212208"/>
                </a:cubicBezTo>
                <a:cubicBezTo>
                  <a:pt x="161309" y="205882"/>
                  <a:pt x="167070" y="209908"/>
                  <a:pt x="168222" y="204157"/>
                </a:cubicBezTo>
                <a:cubicBezTo>
                  <a:pt x="169950" y="198406"/>
                  <a:pt x="172831" y="198981"/>
                  <a:pt x="176287" y="200131"/>
                </a:cubicBezTo>
                <a:cubicBezTo>
                  <a:pt x="179744" y="201282"/>
                  <a:pt x="183201" y="199556"/>
                  <a:pt x="183201" y="196681"/>
                </a:cubicBezTo>
                <a:cubicBezTo>
                  <a:pt x="183201" y="193805"/>
                  <a:pt x="191266" y="194956"/>
                  <a:pt x="198179" y="190355"/>
                </a:cubicBezTo>
                <a:cubicBezTo>
                  <a:pt x="205093" y="185754"/>
                  <a:pt x="208549" y="182304"/>
                  <a:pt x="210854" y="184604"/>
                </a:cubicBezTo>
                <a:cubicBezTo>
                  <a:pt x="213734" y="187479"/>
                  <a:pt x="230441" y="186904"/>
                  <a:pt x="233321" y="185754"/>
                </a:cubicBezTo>
                <a:cubicBezTo>
                  <a:pt x="235626" y="184604"/>
                  <a:pt x="240811" y="180003"/>
                  <a:pt x="247148" y="181153"/>
                </a:cubicBezTo>
                <a:cubicBezTo>
                  <a:pt x="253485" y="182304"/>
                  <a:pt x="268464" y="178853"/>
                  <a:pt x="274801" y="178853"/>
                </a:cubicBezTo>
                <a:cubicBezTo>
                  <a:pt x="281138" y="178853"/>
                  <a:pt x="283442" y="173102"/>
                  <a:pt x="285747" y="170802"/>
                </a:cubicBezTo>
                <a:cubicBezTo>
                  <a:pt x="288051" y="168502"/>
                  <a:pt x="289203" y="159300"/>
                  <a:pt x="291508" y="158150"/>
                </a:cubicBezTo>
                <a:cubicBezTo>
                  <a:pt x="293236" y="157000"/>
                  <a:pt x="292660" y="124220"/>
                  <a:pt x="292660" y="111567"/>
                </a:cubicBezTo>
                <a:cubicBezTo>
                  <a:pt x="285171" y="111567"/>
                  <a:pt x="276529" y="113868"/>
                  <a:pt x="276529" y="113868"/>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7" name="Freeform 253">
            <a:extLst>
              <a:ext uri="{FF2B5EF4-FFF2-40B4-BE49-F238E27FC236}">
                <a16:creationId xmlns:a16="http://schemas.microsoft.com/office/drawing/2014/main" id="{B6D03C60-9248-7873-124D-17A33597A515}"/>
              </a:ext>
            </a:extLst>
          </p:cNvPr>
          <p:cNvSpPr/>
          <p:nvPr/>
        </p:nvSpPr>
        <p:spPr>
          <a:xfrm>
            <a:off x="7294140" y="8742556"/>
            <a:ext cx="1174418" cy="803543"/>
          </a:xfrm>
          <a:custGeom>
            <a:avLst/>
            <a:gdLst>
              <a:gd name="connsiteX0" fmla="*/ 141721 w 141928"/>
              <a:gd name="connsiteY0" fmla="*/ 55941 h 97108"/>
              <a:gd name="connsiteX1" fmla="*/ 134808 w 141928"/>
              <a:gd name="connsiteY1" fmla="*/ 52490 h 97108"/>
              <a:gd name="connsiteX2" fmla="*/ 133656 w 141928"/>
              <a:gd name="connsiteY2" fmla="*/ 42714 h 97108"/>
              <a:gd name="connsiteX3" fmla="*/ 124438 w 141928"/>
              <a:gd name="connsiteY3" fmla="*/ 43864 h 97108"/>
              <a:gd name="connsiteX4" fmla="*/ 117525 w 141928"/>
              <a:gd name="connsiteY4" fmla="*/ 37538 h 97108"/>
              <a:gd name="connsiteX5" fmla="*/ 114645 w 141928"/>
              <a:gd name="connsiteY5" fmla="*/ 31212 h 97108"/>
              <a:gd name="connsiteX6" fmla="*/ 106579 w 141928"/>
              <a:gd name="connsiteY6" fmla="*/ 22011 h 97108"/>
              <a:gd name="connsiteX7" fmla="*/ 100818 w 141928"/>
              <a:gd name="connsiteY7" fmla="*/ 11659 h 97108"/>
              <a:gd name="connsiteX8" fmla="*/ 100818 w 141928"/>
              <a:gd name="connsiteY8" fmla="*/ 2458 h 97108"/>
              <a:gd name="connsiteX9" fmla="*/ 89872 w 141928"/>
              <a:gd name="connsiteY9" fmla="*/ 732 h 97108"/>
              <a:gd name="connsiteX10" fmla="*/ 77198 w 141928"/>
              <a:gd name="connsiteY10" fmla="*/ 6483 h 97108"/>
              <a:gd name="connsiteX11" fmla="*/ 62219 w 141928"/>
              <a:gd name="connsiteY11" fmla="*/ 12809 h 97108"/>
              <a:gd name="connsiteX12" fmla="*/ 55306 w 141928"/>
              <a:gd name="connsiteY12" fmla="*/ 16260 h 97108"/>
              <a:gd name="connsiteX13" fmla="*/ 47240 w 141928"/>
              <a:gd name="connsiteY13" fmla="*/ 20285 h 97108"/>
              <a:gd name="connsiteX14" fmla="*/ 39751 w 141928"/>
              <a:gd name="connsiteY14" fmla="*/ 28337 h 97108"/>
              <a:gd name="connsiteX15" fmla="*/ 28805 w 141928"/>
              <a:gd name="connsiteY15" fmla="*/ 27761 h 97108"/>
              <a:gd name="connsiteX16" fmla="*/ 23044 w 141928"/>
              <a:gd name="connsiteY16" fmla="*/ 40413 h 97108"/>
              <a:gd name="connsiteX17" fmla="*/ 17283 w 141928"/>
              <a:gd name="connsiteY17" fmla="*/ 51340 h 97108"/>
              <a:gd name="connsiteX18" fmla="*/ 3457 w 141928"/>
              <a:gd name="connsiteY18" fmla="*/ 57666 h 97108"/>
              <a:gd name="connsiteX19" fmla="*/ 4609 w 141928"/>
              <a:gd name="connsiteY19" fmla="*/ 69168 h 97108"/>
              <a:gd name="connsiteX20" fmla="*/ 0 w 141928"/>
              <a:gd name="connsiteY20" fmla="*/ 82395 h 97108"/>
              <a:gd name="connsiteX21" fmla="*/ 8642 w 141928"/>
              <a:gd name="connsiteY21" fmla="*/ 88146 h 97108"/>
              <a:gd name="connsiteX22" fmla="*/ 24196 w 141928"/>
              <a:gd name="connsiteY22" fmla="*/ 95622 h 97108"/>
              <a:gd name="connsiteX23" fmla="*/ 44936 w 141928"/>
              <a:gd name="connsiteY23" fmla="*/ 93322 h 97108"/>
              <a:gd name="connsiteX24" fmla="*/ 50697 w 141928"/>
              <a:gd name="connsiteY24" fmla="*/ 91597 h 97108"/>
              <a:gd name="connsiteX25" fmla="*/ 47816 w 141928"/>
              <a:gd name="connsiteY25" fmla="*/ 73769 h 97108"/>
              <a:gd name="connsiteX26" fmla="*/ 91600 w 141928"/>
              <a:gd name="connsiteY26" fmla="*/ 74919 h 97108"/>
              <a:gd name="connsiteX27" fmla="*/ 98513 w 141928"/>
              <a:gd name="connsiteY27" fmla="*/ 70318 h 97108"/>
              <a:gd name="connsiteX28" fmla="*/ 114645 w 141928"/>
              <a:gd name="connsiteY28" fmla="*/ 72618 h 97108"/>
              <a:gd name="connsiteX29" fmla="*/ 124438 w 141928"/>
              <a:gd name="connsiteY29" fmla="*/ 65717 h 97108"/>
              <a:gd name="connsiteX30" fmla="*/ 138841 w 141928"/>
              <a:gd name="connsiteY30" fmla="*/ 62842 h 97108"/>
              <a:gd name="connsiteX31" fmla="*/ 141721 w 141928"/>
              <a:gd name="connsiteY31" fmla="*/ 55941 h 97108"/>
              <a:gd name="connsiteX32" fmla="*/ 141721 w 141928"/>
              <a:gd name="connsiteY32" fmla="*/ 55941 h 9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1928" h="97108">
                <a:moveTo>
                  <a:pt x="141721" y="55941"/>
                </a:moveTo>
                <a:cubicBezTo>
                  <a:pt x="138841" y="53641"/>
                  <a:pt x="135384" y="52490"/>
                  <a:pt x="134808" y="52490"/>
                </a:cubicBezTo>
                <a:cubicBezTo>
                  <a:pt x="133080" y="52490"/>
                  <a:pt x="134232" y="43864"/>
                  <a:pt x="133656" y="42714"/>
                </a:cubicBezTo>
                <a:cubicBezTo>
                  <a:pt x="133080" y="41564"/>
                  <a:pt x="127895" y="45014"/>
                  <a:pt x="124438" y="43864"/>
                </a:cubicBezTo>
                <a:cubicBezTo>
                  <a:pt x="121558" y="42714"/>
                  <a:pt x="120406" y="37538"/>
                  <a:pt x="117525" y="37538"/>
                </a:cubicBezTo>
                <a:cubicBezTo>
                  <a:pt x="114645" y="37538"/>
                  <a:pt x="114645" y="34662"/>
                  <a:pt x="114645" y="31212"/>
                </a:cubicBezTo>
                <a:cubicBezTo>
                  <a:pt x="114645" y="27761"/>
                  <a:pt x="109460" y="24311"/>
                  <a:pt x="106579" y="22011"/>
                </a:cubicBezTo>
                <a:cubicBezTo>
                  <a:pt x="103698" y="19710"/>
                  <a:pt x="102546" y="12809"/>
                  <a:pt x="100818" y="11659"/>
                </a:cubicBezTo>
                <a:cubicBezTo>
                  <a:pt x="99666" y="11084"/>
                  <a:pt x="100242" y="6483"/>
                  <a:pt x="100818" y="2458"/>
                </a:cubicBezTo>
                <a:cubicBezTo>
                  <a:pt x="96209" y="2458"/>
                  <a:pt x="91024" y="1882"/>
                  <a:pt x="89872" y="732"/>
                </a:cubicBezTo>
                <a:cubicBezTo>
                  <a:pt x="87568" y="-1568"/>
                  <a:pt x="83535" y="1882"/>
                  <a:pt x="77198" y="6483"/>
                </a:cubicBezTo>
                <a:cubicBezTo>
                  <a:pt x="70285" y="11084"/>
                  <a:pt x="62219" y="9359"/>
                  <a:pt x="62219" y="12809"/>
                </a:cubicBezTo>
                <a:cubicBezTo>
                  <a:pt x="62219" y="15685"/>
                  <a:pt x="59339" y="17410"/>
                  <a:pt x="55306" y="16260"/>
                </a:cubicBezTo>
                <a:cubicBezTo>
                  <a:pt x="51849" y="15109"/>
                  <a:pt x="48393" y="14534"/>
                  <a:pt x="47240" y="20285"/>
                </a:cubicBezTo>
                <a:cubicBezTo>
                  <a:pt x="45512" y="26036"/>
                  <a:pt x="39751" y="22586"/>
                  <a:pt x="39751" y="28337"/>
                </a:cubicBezTo>
                <a:cubicBezTo>
                  <a:pt x="39175" y="34662"/>
                  <a:pt x="33414" y="30637"/>
                  <a:pt x="28805" y="27761"/>
                </a:cubicBezTo>
                <a:cubicBezTo>
                  <a:pt x="24196" y="25461"/>
                  <a:pt x="23044" y="40413"/>
                  <a:pt x="23044" y="40413"/>
                </a:cubicBezTo>
                <a:cubicBezTo>
                  <a:pt x="23044" y="40413"/>
                  <a:pt x="20164" y="43864"/>
                  <a:pt x="17283" y="51340"/>
                </a:cubicBezTo>
                <a:cubicBezTo>
                  <a:pt x="14979" y="58816"/>
                  <a:pt x="5761" y="56516"/>
                  <a:pt x="3457" y="57666"/>
                </a:cubicBezTo>
                <a:cubicBezTo>
                  <a:pt x="1152" y="58816"/>
                  <a:pt x="6337" y="65717"/>
                  <a:pt x="4609" y="69168"/>
                </a:cubicBezTo>
                <a:cubicBezTo>
                  <a:pt x="3457" y="70893"/>
                  <a:pt x="1728" y="76644"/>
                  <a:pt x="0" y="82395"/>
                </a:cubicBezTo>
                <a:cubicBezTo>
                  <a:pt x="4033" y="82970"/>
                  <a:pt x="7489" y="86421"/>
                  <a:pt x="8642" y="88146"/>
                </a:cubicBezTo>
                <a:cubicBezTo>
                  <a:pt x="10370" y="91021"/>
                  <a:pt x="19587" y="100798"/>
                  <a:pt x="24196" y="95622"/>
                </a:cubicBezTo>
                <a:cubicBezTo>
                  <a:pt x="28805" y="90446"/>
                  <a:pt x="42055" y="89871"/>
                  <a:pt x="44936" y="93322"/>
                </a:cubicBezTo>
                <a:cubicBezTo>
                  <a:pt x="47816" y="96197"/>
                  <a:pt x="50121" y="95047"/>
                  <a:pt x="50697" y="91597"/>
                </a:cubicBezTo>
                <a:cubicBezTo>
                  <a:pt x="51273" y="88721"/>
                  <a:pt x="45512" y="77219"/>
                  <a:pt x="47816" y="73769"/>
                </a:cubicBezTo>
                <a:cubicBezTo>
                  <a:pt x="50121" y="70893"/>
                  <a:pt x="90448" y="72043"/>
                  <a:pt x="91600" y="74919"/>
                </a:cubicBezTo>
                <a:cubicBezTo>
                  <a:pt x="93329" y="77794"/>
                  <a:pt x="93329" y="69743"/>
                  <a:pt x="98513" y="70318"/>
                </a:cubicBezTo>
                <a:cubicBezTo>
                  <a:pt x="103698" y="70893"/>
                  <a:pt x="111188" y="73194"/>
                  <a:pt x="114645" y="72618"/>
                </a:cubicBezTo>
                <a:cubicBezTo>
                  <a:pt x="117525" y="71468"/>
                  <a:pt x="121558" y="65717"/>
                  <a:pt x="124438" y="65717"/>
                </a:cubicBezTo>
                <a:cubicBezTo>
                  <a:pt x="127319" y="65717"/>
                  <a:pt x="137112" y="65142"/>
                  <a:pt x="138841" y="62842"/>
                </a:cubicBezTo>
                <a:cubicBezTo>
                  <a:pt x="138841" y="59967"/>
                  <a:pt x="142873" y="59967"/>
                  <a:pt x="141721" y="55941"/>
                </a:cubicBezTo>
                <a:cubicBezTo>
                  <a:pt x="141721" y="55941"/>
                  <a:pt x="141721" y="55941"/>
                  <a:pt x="141721" y="55941"/>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8" name="Freeform 254">
            <a:extLst>
              <a:ext uri="{FF2B5EF4-FFF2-40B4-BE49-F238E27FC236}">
                <a16:creationId xmlns:a16="http://schemas.microsoft.com/office/drawing/2014/main" id="{86E2364C-AEAA-1735-BCAA-946EE954E18A}"/>
              </a:ext>
            </a:extLst>
          </p:cNvPr>
          <p:cNvSpPr/>
          <p:nvPr/>
        </p:nvSpPr>
        <p:spPr>
          <a:xfrm>
            <a:off x="8113351" y="7463752"/>
            <a:ext cx="2231499" cy="1745601"/>
          </a:xfrm>
          <a:custGeom>
            <a:avLst/>
            <a:gdLst>
              <a:gd name="connsiteX0" fmla="*/ 260488 w 269675"/>
              <a:gd name="connsiteY0" fmla="*/ 31055 h 210955"/>
              <a:gd name="connsiteX1" fmla="*/ 259335 w 269675"/>
              <a:gd name="connsiteY1" fmla="*/ 8626 h 210955"/>
              <a:gd name="connsiteX2" fmla="*/ 245509 w 269675"/>
              <a:gd name="connsiteY2" fmla="*/ 16103 h 210955"/>
              <a:gd name="connsiteX3" fmla="*/ 234563 w 269675"/>
              <a:gd name="connsiteY3" fmla="*/ 5176 h 210955"/>
              <a:gd name="connsiteX4" fmla="*/ 208639 w 269675"/>
              <a:gd name="connsiteY4" fmla="*/ 0 h 210955"/>
              <a:gd name="connsiteX5" fmla="*/ 133169 w 269675"/>
              <a:gd name="connsiteY5" fmla="*/ 46582 h 210955"/>
              <a:gd name="connsiteX6" fmla="*/ 100907 w 269675"/>
              <a:gd name="connsiteY6" fmla="*/ 72461 h 210955"/>
              <a:gd name="connsiteX7" fmla="*/ 73830 w 269675"/>
              <a:gd name="connsiteY7" fmla="*/ 81088 h 210955"/>
              <a:gd name="connsiteX8" fmla="*/ 71526 w 269675"/>
              <a:gd name="connsiteY8" fmla="*/ 81663 h 210955"/>
              <a:gd name="connsiteX9" fmla="*/ 70374 w 269675"/>
              <a:gd name="connsiteY9" fmla="*/ 128245 h 210955"/>
              <a:gd name="connsiteX10" fmla="*/ 64613 w 269675"/>
              <a:gd name="connsiteY10" fmla="*/ 140897 h 210955"/>
              <a:gd name="connsiteX11" fmla="*/ 53667 w 269675"/>
              <a:gd name="connsiteY11" fmla="*/ 148948 h 210955"/>
              <a:gd name="connsiteX12" fmla="*/ 26014 w 269675"/>
              <a:gd name="connsiteY12" fmla="*/ 151249 h 210955"/>
              <a:gd name="connsiteX13" fmla="*/ 12187 w 269675"/>
              <a:gd name="connsiteY13" fmla="*/ 155849 h 210955"/>
              <a:gd name="connsiteX14" fmla="*/ 665 w 269675"/>
              <a:gd name="connsiteY14" fmla="*/ 156425 h 210955"/>
              <a:gd name="connsiteX15" fmla="*/ 665 w 269675"/>
              <a:gd name="connsiteY15" fmla="*/ 165626 h 210955"/>
              <a:gd name="connsiteX16" fmla="*/ 6426 w 269675"/>
              <a:gd name="connsiteY16" fmla="*/ 175978 h 210955"/>
              <a:gd name="connsiteX17" fmla="*/ 14492 w 269675"/>
              <a:gd name="connsiteY17" fmla="*/ 185179 h 210955"/>
              <a:gd name="connsiteX18" fmla="*/ 17372 w 269675"/>
              <a:gd name="connsiteY18" fmla="*/ 191505 h 210955"/>
              <a:gd name="connsiteX19" fmla="*/ 24286 w 269675"/>
              <a:gd name="connsiteY19" fmla="*/ 197831 h 210955"/>
              <a:gd name="connsiteX20" fmla="*/ 33503 w 269675"/>
              <a:gd name="connsiteY20" fmla="*/ 196681 h 210955"/>
              <a:gd name="connsiteX21" fmla="*/ 34655 w 269675"/>
              <a:gd name="connsiteY21" fmla="*/ 206457 h 210955"/>
              <a:gd name="connsiteX22" fmla="*/ 41569 w 269675"/>
              <a:gd name="connsiteY22" fmla="*/ 209908 h 210955"/>
              <a:gd name="connsiteX23" fmla="*/ 47906 w 269675"/>
              <a:gd name="connsiteY23" fmla="*/ 201857 h 210955"/>
              <a:gd name="connsiteX24" fmla="*/ 53667 w 269675"/>
              <a:gd name="connsiteY24" fmla="*/ 209908 h 210955"/>
              <a:gd name="connsiteX25" fmla="*/ 61156 w 269675"/>
              <a:gd name="connsiteY25" fmla="*/ 207032 h 210955"/>
              <a:gd name="connsiteX26" fmla="*/ 68645 w 269675"/>
              <a:gd name="connsiteY26" fmla="*/ 194381 h 210955"/>
              <a:gd name="connsiteX27" fmla="*/ 72678 w 269675"/>
              <a:gd name="connsiteY27" fmla="*/ 180578 h 210955"/>
              <a:gd name="connsiteX28" fmla="*/ 88809 w 269675"/>
              <a:gd name="connsiteY28" fmla="*/ 180578 h 210955"/>
              <a:gd name="connsiteX29" fmla="*/ 99179 w 269675"/>
              <a:gd name="connsiteY29" fmla="*/ 177128 h 210955"/>
              <a:gd name="connsiteX30" fmla="*/ 113005 w 269675"/>
              <a:gd name="connsiteY30" fmla="*/ 181153 h 210955"/>
              <a:gd name="connsiteX31" fmla="*/ 122799 w 269675"/>
              <a:gd name="connsiteY31" fmla="*/ 190355 h 210955"/>
              <a:gd name="connsiteX32" fmla="*/ 137202 w 269675"/>
              <a:gd name="connsiteY32" fmla="*/ 186329 h 210955"/>
              <a:gd name="connsiteX33" fmla="*/ 150452 w 269675"/>
              <a:gd name="connsiteY33" fmla="*/ 193805 h 210955"/>
              <a:gd name="connsiteX34" fmla="*/ 167735 w 269675"/>
              <a:gd name="connsiteY34" fmla="*/ 193805 h 210955"/>
              <a:gd name="connsiteX35" fmla="*/ 180409 w 269675"/>
              <a:gd name="connsiteY35" fmla="*/ 185754 h 210955"/>
              <a:gd name="connsiteX36" fmla="*/ 202877 w 269675"/>
              <a:gd name="connsiteY36" fmla="*/ 186329 h 210955"/>
              <a:gd name="connsiteX37" fmla="*/ 217280 w 269675"/>
              <a:gd name="connsiteY37" fmla="*/ 189780 h 210955"/>
              <a:gd name="connsiteX38" fmla="*/ 229954 w 269675"/>
              <a:gd name="connsiteY38" fmla="*/ 178278 h 210955"/>
              <a:gd name="connsiteX39" fmla="*/ 232259 w 269675"/>
              <a:gd name="connsiteY39" fmla="*/ 178278 h 210955"/>
              <a:gd name="connsiteX40" fmla="*/ 232259 w 269675"/>
              <a:gd name="connsiteY40" fmla="*/ 172527 h 210955"/>
              <a:gd name="connsiteX41" fmla="*/ 235715 w 269675"/>
              <a:gd name="connsiteY41" fmla="*/ 157575 h 210955"/>
              <a:gd name="connsiteX42" fmla="*/ 263944 w 269675"/>
              <a:gd name="connsiteY42" fmla="*/ 122494 h 210955"/>
              <a:gd name="connsiteX43" fmla="*/ 266249 w 269675"/>
              <a:gd name="connsiteY43" fmla="*/ 78787 h 210955"/>
              <a:gd name="connsiteX44" fmla="*/ 269129 w 269675"/>
              <a:gd name="connsiteY44" fmla="*/ 60384 h 210955"/>
              <a:gd name="connsiteX45" fmla="*/ 266249 w 269675"/>
              <a:gd name="connsiteY45" fmla="*/ 47157 h 210955"/>
              <a:gd name="connsiteX46" fmla="*/ 260488 w 269675"/>
              <a:gd name="connsiteY46" fmla="*/ 31055 h 21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69675" h="210955">
                <a:moveTo>
                  <a:pt x="260488" y="31055"/>
                </a:moveTo>
                <a:cubicBezTo>
                  <a:pt x="260488" y="28755"/>
                  <a:pt x="259911" y="17253"/>
                  <a:pt x="259335" y="8626"/>
                </a:cubicBezTo>
                <a:lnTo>
                  <a:pt x="245509" y="16103"/>
                </a:lnTo>
                <a:cubicBezTo>
                  <a:pt x="245509" y="16103"/>
                  <a:pt x="242052" y="9777"/>
                  <a:pt x="234563" y="5176"/>
                </a:cubicBezTo>
                <a:cubicBezTo>
                  <a:pt x="227074" y="0"/>
                  <a:pt x="208639" y="0"/>
                  <a:pt x="208639" y="0"/>
                </a:cubicBezTo>
                <a:lnTo>
                  <a:pt x="133169" y="46582"/>
                </a:lnTo>
                <a:lnTo>
                  <a:pt x="100907" y="72461"/>
                </a:lnTo>
                <a:cubicBezTo>
                  <a:pt x="100907" y="72461"/>
                  <a:pt x="80167" y="79938"/>
                  <a:pt x="73830" y="81088"/>
                </a:cubicBezTo>
                <a:cubicBezTo>
                  <a:pt x="73254" y="81088"/>
                  <a:pt x="72102" y="81663"/>
                  <a:pt x="71526" y="81663"/>
                </a:cubicBezTo>
                <a:cubicBezTo>
                  <a:pt x="71526" y="94315"/>
                  <a:pt x="72102" y="127095"/>
                  <a:pt x="70374" y="128245"/>
                </a:cubicBezTo>
                <a:cubicBezTo>
                  <a:pt x="68069" y="129970"/>
                  <a:pt x="66917" y="139172"/>
                  <a:pt x="64613" y="140897"/>
                </a:cubicBezTo>
                <a:cubicBezTo>
                  <a:pt x="62308" y="143197"/>
                  <a:pt x="60004" y="148948"/>
                  <a:pt x="53667" y="148948"/>
                </a:cubicBezTo>
                <a:cubicBezTo>
                  <a:pt x="47330" y="148948"/>
                  <a:pt x="32351" y="152399"/>
                  <a:pt x="26014" y="151249"/>
                </a:cubicBezTo>
                <a:cubicBezTo>
                  <a:pt x="19677" y="150099"/>
                  <a:pt x="14492" y="154699"/>
                  <a:pt x="12187" y="155849"/>
                </a:cubicBezTo>
                <a:cubicBezTo>
                  <a:pt x="11035" y="156425"/>
                  <a:pt x="5850" y="157000"/>
                  <a:pt x="665" y="156425"/>
                </a:cubicBezTo>
                <a:cubicBezTo>
                  <a:pt x="89" y="160450"/>
                  <a:pt x="-487" y="165051"/>
                  <a:pt x="665" y="165626"/>
                </a:cubicBezTo>
                <a:cubicBezTo>
                  <a:pt x="2393" y="166776"/>
                  <a:pt x="3546" y="173102"/>
                  <a:pt x="6426" y="175978"/>
                </a:cubicBezTo>
                <a:cubicBezTo>
                  <a:pt x="9307" y="178278"/>
                  <a:pt x="14492" y="181729"/>
                  <a:pt x="14492" y="185179"/>
                </a:cubicBezTo>
                <a:cubicBezTo>
                  <a:pt x="14492" y="188630"/>
                  <a:pt x="15068" y="191505"/>
                  <a:pt x="17372" y="191505"/>
                </a:cubicBezTo>
                <a:cubicBezTo>
                  <a:pt x="20253" y="191505"/>
                  <a:pt x="21405" y="196681"/>
                  <a:pt x="24286" y="197831"/>
                </a:cubicBezTo>
                <a:cubicBezTo>
                  <a:pt x="27166" y="198981"/>
                  <a:pt x="32351" y="195531"/>
                  <a:pt x="33503" y="196681"/>
                </a:cubicBezTo>
                <a:cubicBezTo>
                  <a:pt x="34079" y="197831"/>
                  <a:pt x="32927" y="206457"/>
                  <a:pt x="34655" y="206457"/>
                </a:cubicBezTo>
                <a:cubicBezTo>
                  <a:pt x="35808" y="206457"/>
                  <a:pt x="39264" y="207032"/>
                  <a:pt x="41569" y="209908"/>
                </a:cubicBezTo>
                <a:cubicBezTo>
                  <a:pt x="40416" y="205882"/>
                  <a:pt x="42721" y="200131"/>
                  <a:pt x="47906" y="201857"/>
                </a:cubicBezTo>
                <a:cubicBezTo>
                  <a:pt x="53091" y="203582"/>
                  <a:pt x="49058" y="208183"/>
                  <a:pt x="53667" y="209908"/>
                </a:cubicBezTo>
                <a:cubicBezTo>
                  <a:pt x="58275" y="212208"/>
                  <a:pt x="61156" y="210483"/>
                  <a:pt x="61156" y="207032"/>
                </a:cubicBezTo>
                <a:cubicBezTo>
                  <a:pt x="61156" y="203582"/>
                  <a:pt x="67493" y="196106"/>
                  <a:pt x="68645" y="194381"/>
                </a:cubicBezTo>
                <a:cubicBezTo>
                  <a:pt x="70374" y="192655"/>
                  <a:pt x="69798" y="182879"/>
                  <a:pt x="72678" y="180578"/>
                </a:cubicBezTo>
                <a:cubicBezTo>
                  <a:pt x="75559" y="178278"/>
                  <a:pt x="85352" y="180003"/>
                  <a:pt x="88809" y="180578"/>
                </a:cubicBezTo>
                <a:cubicBezTo>
                  <a:pt x="92266" y="181153"/>
                  <a:pt x="95146" y="173102"/>
                  <a:pt x="99179" y="177128"/>
                </a:cubicBezTo>
                <a:cubicBezTo>
                  <a:pt x="103211" y="180578"/>
                  <a:pt x="110125" y="177703"/>
                  <a:pt x="113005" y="181153"/>
                </a:cubicBezTo>
                <a:cubicBezTo>
                  <a:pt x="115886" y="184604"/>
                  <a:pt x="117614" y="193805"/>
                  <a:pt x="122799" y="190355"/>
                </a:cubicBezTo>
                <a:cubicBezTo>
                  <a:pt x="127984" y="187479"/>
                  <a:pt x="134321" y="186329"/>
                  <a:pt x="137202" y="186329"/>
                </a:cubicBezTo>
                <a:cubicBezTo>
                  <a:pt x="140082" y="186329"/>
                  <a:pt x="147571" y="192655"/>
                  <a:pt x="150452" y="193805"/>
                </a:cubicBezTo>
                <a:cubicBezTo>
                  <a:pt x="153332" y="194956"/>
                  <a:pt x="163702" y="196106"/>
                  <a:pt x="167735" y="193805"/>
                </a:cubicBezTo>
                <a:cubicBezTo>
                  <a:pt x="171192" y="191505"/>
                  <a:pt x="175801" y="185179"/>
                  <a:pt x="180409" y="185754"/>
                </a:cubicBezTo>
                <a:cubicBezTo>
                  <a:pt x="185018" y="186329"/>
                  <a:pt x="199421" y="184604"/>
                  <a:pt x="202877" y="186329"/>
                </a:cubicBezTo>
                <a:cubicBezTo>
                  <a:pt x="205758" y="188055"/>
                  <a:pt x="212671" y="191505"/>
                  <a:pt x="217280" y="189780"/>
                </a:cubicBezTo>
                <a:cubicBezTo>
                  <a:pt x="221889" y="188055"/>
                  <a:pt x="225922" y="179428"/>
                  <a:pt x="229954" y="178278"/>
                </a:cubicBezTo>
                <a:cubicBezTo>
                  <a:pt x="231106" y="177703"/>
                  <a:pt x="231683" y="178278"/>
                  <a:pt x="232259" y="178278"/>
                </a:cubicBezTo>
                <a:cubicBezTo>
                  <a:pt x="232259" y="175978"/>
                  <a:pt x="232259" y="174252"/>
                  <a:pt x="232259" y="172527"/>
                </a:cubicBezTo>
                <a:cubicBezTo>
                  <a:pt x="232259" y="163326"/>
                  <a:pt x="234563" y="166776"/>
                  <a:pt x="235715" y="157575"/>
                </a:cubicBezTo>
                <a:cubicBezTo>
                  <a:pt x="237444" y="148373"/>
                  <a:pt x="261640" y="124220"/>
                  <a:pt x="263944" y="122494"/>
                </a:cubicBezTo>
                <a:cubicBezTo>
                  <a:pt x="266249" y="120769"/>
                  <a:pt x="266249" y="83963"/>
                  <a:pt x="266249" y="78787"/>
                </a:cubicBezTo>
                <a:cubicBezTo>
                  <a:pt x="266249" y="73612"/>
                  <a:pt x="267401" y="67286"/>
                  <a:pt x="269129" y="60384"/>
                </a:cubicBezTo>
                <a:cubicBezTo>
                  <a:pt x="271434" y="52908"/>
                  <a:pt x="265672" y="53483"/>
                  <a:pt x="266249" y="47157"/>
                </a:cubicBezTo>
                <a:cubicBezTo>
                  <a:pt x="267977" y="40256"/>
                  <a:pt x="260488" y="35081"/>
                  <a:pt x="260488" y="31055"/>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9" name="Freeform 255">
            <a:extLst>
              <a:ext uri="{FF2B5EF4-FFF2-40B4-BE49-F238E27FC236}">
                <a16:creationId xmlns:a16="http://schemas.microsoft.com/office/drawing/2014/main" id="{8B092A42-5F34-9B74-45F3-275729450951}"/>
              </a:ext>
            </a:extLst>
          </p:cNvPr>
          <p:cNvSpPr/>
          <p:nvPr/>
        </p:nvSpPr>
        <p:spPr>
          <a:xfrm>
            <a:off x="10049541" y="7463747"/>
            <a:ext cx="1444432" cy="2410394"/>
          </a:xfrm>
          <a:custGeom>
            <a:avLst/>
            <a:gdLst>
              <a:gd name="connsiteX0" fmla="*/ 174559 w 174559"/>
              <a:gd name="connsiteY0" fmla="*/ 71886 h 291294"/>
              <a:gd name="connsiteX1" fmla="*/ 40904 w 174559"/>
              <a:gd name="connsiteY1" fmla="*/ 0 h 291294"/>
              <a:gd name="connsiteX2" fmla="*/ 25349 w 174559"/>
              <a:gd name="connsiteY2" fmla="*/ 8626 h 291294"/>
              <a:gd name="connsiteX3" fmla="*/ 26501 w 174559"/>
              <a:gd name="connsiteY3" fmla="*/ 31055 h 291294"/>
              <a:gd name="connsiteX4" fmla="*/ 33990 w 174559"/>
              <a:gd name="connsiteY4" fmla="*/ 47157 h 291294"/>
              <a:gd name="connsiteX5" fmla="*/ 36871 w 174559"/>
              <a:gd name="connsiteY5" fmla="*/ 60384 h 291294"/>
              <a:gd name="connsiteX6" fmla="*/ 33990 w 174559"/>
              <a:gd name="connsiteY6" fmla="*/ 78787 h 291294"/>
              <a:gd name="connsiteX7" fmla="*/ 31686 w 174559"/>
              <a:gd name="connsiteY7" fmla="*/ 122494 h 291294"/>
              <a:gd name="connsiteX8" fmla="*/ 3457 w 174559"/>
              <a:gd name="connsiteY8" fmla="*/ 157575 h 291294"/>
              <a:gd name="connsiteX9" fmla="*/ 0 w 174559"/>
              <a:gd name="connsiteY9" fmla="*/ 172527 h 291294"/>
              <a:gd name="connsiteX10" fmla="*/ 0 w 174559"/>
              <a:gd name="connsiteY10" fmla="*/ 178278 h 291294"/>
              <a:gd name="connsiteX11" fmla="*/ 3457 w 174559"/>
              <a:gd name="connsiteY11" fmla="*/ 181729 h 291294"/>
              <a:gd name="connsiteX12" fmla="*/ 10946 w 174559"/>
              <a:gd name="connsiteY12" fmla="*/ 189205 h 291294"/>
              <a:gd name="connsiteX13" fmla="*/ 21892 w 174559"/>
              <a:gd name="connsiteY13" fmla="*/ 205882 h 291294"/>
              <a:gd name="connsiteX14" fmla="*/ 24196 w 174559"/>
              <a:gd name="connsiteY14" fmla="*/ 221410 h 291294"/>
              <a:gd name="connsiteX15" fmla="*/ 31686 w 174559"/>
              <a:gd name="connsiteY15" fmla="*/ 243263 h 291294"/>
              <a:gd name="connsiteX16" fmla="*/ 24196 w 174559"/>
              <a:gd name="connsiteY16" fmla="*/ 246139 h 291294"/>
              <a:gd name="connsiteX17" fmla="*/ 9218 w 174559"/>
              <a:gd name="connsiteY17" fmla="*/ 248439 h 291294"/>
              <a:gd name="connsiteX18" fmla="*/ 13250 w 174559"/>
              <a:gd name="connsiteY18" fmla="*/ 261091 h 291294"/>
              <a:gd name="connsiteX19" fmla="*/ 27653 w 174559"/>
              <a:gd name="connsiteY19" fmla="*/ 276043 h 291294"/>
              <a:gd name="connsiteX20" fmla="*/ 34566 w 174559"/>
              <a:gd name="connsiteY20" fmla="*/ 290421 h 291294"/>
              <a:gd name="connsiteX21" fmla="*/ 44360 w 174559"/>
              <a:gd name="connsiteY21" fmla="*/ 286395 h 291294"/>
              <a:gd name="connsiteX22" fmla="*/ 55882 w 174559"/>
              <a:gd name="connsiteY22" fmla="*/ 286395 h 291294"/>
              <a:gd name="connsiteX23" fmla="*/ 74893 w 174559"/>
              <a:gd name="connsiteY23" fmla="*/ 280644 h 291294"/>
              <a:gd name="connsiteX24" fmla="*/ 90448 w 174559"/>
              <a:gd name="connsiteY24" fmla="*/ 272593 h 291294"/>
              <a:gd name="connsiteX25" fmla="*/ 91600 w 174559"/>
              <a:gd name="connsiteY25" fmla="*/ 263391 h 291294"/>
              <a:gd name="connsiteX26" fmla="*/ 116373 w 174559"/>
              <a:gd name="connsiteY26" fmla="*/ 258215 h 291294"/>
              <a:gd name="connsiteX27" fmla="*/ 133656 w 174559"/>
              <a:gd name="connsiteY27" fmla="*/ 240388 h 291294"/>
              <a:gd name="connsiteX28" fmla="*/ 137112 w 174559"/>
              <a:gd name="connsiteY28" fmla="*/ 232336 h 291294"/>
              <a:gd name="connsiteX29" fmla="*/ 151515 w 174559"/>
              <a:gd name="connsiteY29" fmla="*/ 226585 h 291294"/>
              <a:gd name="connsiteX30" fmla="*/ 154395 w 174559"/>
              <a:gd name="connsiteY30" fmla="*/ 227161 h 291294"/>
              <a:gd name="connsiteX31" fmla="*/ 153820 w 174559"/>
              <a:gd name="connsiteY31" fmla="*/ 226585 h 291294"/>
              <a:gd name="connsiteX32" fmla="*/ 156124 w 174559"/>
              <a:gd name="connsiteY32" fmla="*/ 219109 h 291294"/>
              <a:gd name="connsiteX33" fmla="*/ 147483 w 174559"/>
              <a:gd name="connsiteY33" fmla="*/ 208183 h 291294"/>
              <a:gd name="connsiteX34" fmla="*/ 144026 w 174559"/>
              <a:gd name="connsiteY34" fmla="*/ 195531 h 291294"/>
              <a:gd name="connsiteX35" fmla="*/ 141721 w 174559"/>
              <a:gd name="connsiteY35" fmla="*/ 185754 h 291294"/>
              <a:gd name="connsiteX36" fmla="*/ 142873 w 174559"/>
              <a:gd name="connsiteY36" fmla="*/ 172527 h 291294"/>
              <a:gd name="connsiteX37" fmla="*/ 150363 w 174559"/>
              <a:gd name="connsiteY37" fmla="*/ 159875 h 291294"/>
              <a:gd name="connsiteX38" fmla="*/ 156700 w 174559"/>
              <a:gd name="connsiteY38" fmla="*/ 148948 h 291294"/>
              <a:gd name="connsiteX39" fmla="*/ 171679 w 174559"/>
              <a:gd name="connsiteY39" fmla="*/ 139172 h 291294"/>
              <a:gd name="connsiteX40" fmla="*/ 173983 w 174559"/>
              <a:gd name="connsiteY40" fmla="*/ 120769 h 291294"/>
              <a:gd name="connsiteX41" fmla="*/ 173983 w 174559"/>
              <a:gd name="connsiteY41" fmla="*/ 71886 h 29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4559" h="291294">
                <a:moveTo>
                  <a:pt x="174559" y="71886"/>
                </a:moveTo>
                <a:lnTo>
                  <a:pt x="40904" y="0"/>
                </a:lnTo>
                <a:lnTo>
                  <a:pt x="25349" y="8626"/>
                </a:lnTo>
                <a:cubicBezTo>
                  <a:pt x="25925" y="17253"/>
                  <a:pt x="26501" y="28755"/>
                  <a:pt x="26501" y="31055"/>
                </a:cubicBezTo>
                <a:cubicBezTo>
                  <a:pt x="26501" y="35081"/>
                  <a:pt x="33990" y="40256"/>
                  <a:pt x="33990" y="47157"/>
                </a:cubicBezTo>
                <a:cubicBezTo>
                  <a:pt x="33414" y="54058"/>
                  <a:pt x="39175" y="53483"/>
                  <a:pt x="36871" y="60384"/>
                </a:cubicBezTo>
                <a:cubicBezTo>
                  <a:pt x="34566" y="67861"/>
                  <a:pt x="33990" y="73612"/>
                  <a:pt x="33990" y="78787"/>
                </a:cubicBezTo>
                <a:cubicBezTo>
                  <a:pt x="33990" y="83963"/>
                  <a:pt x="33990" y="120769"/>
                  <a:pt x="31686" y="122494"/>
                </a:cubicBezTo>
                <a:cubicBezTo>
                  <a:pt x="29381" y="124220"/>
                  <a:pt x="5185" y="148373"/>
                  <a:pt x="3457" y="157575"/>
                </a:cubicBezTo>
                <a:cubicBezTo>
                  <a:pt x="1728" y="166776"/>
                  <a:pt x="0" y="163326"/>
                  <a:pt x="0" y="172527"/>
                </a:cubicBezTo>
                <a:cubicBezTo>
                  <a:pt x="0" y="174252"/>
                  <a:pt x="0" y="175978"/>
                  <a:pt x="0" y="178278"/>
                </a:cubicBezTo>
                <a:cubicBezTo>
                  <a:pt x="1152" y="178853"/>
                  <a:pt x="1728" y="180003"/>
                  <a:pt x="3457" y="181729"/>
                </a:cubicBezTo>
                <a:cubicBezTo>
                  <a:pt x="6337" y="184029"/>
                  <a:pt x="6337" y="189205"/>
                  <a:pt x="10946" y="189205"/>
                </a:cubicBezTo>
                <a:cubicBezTo>
                  <a:pt x="16131" y="189205"/>
                  <a:pt x="22468" y="201282"/>
                  <a:pt x="21892" y="205882"/>
                </a:cubicBezTo>
                <a:cubicBezTo>
                  <a:pt x="21316" y="210483"/>
                  <a:pt x="24772" y="213358"/>
                  <a:pt x="24196" y="221410"/>
                </a:cubicBezTo>
                <a:cubicBezTo>
                  <a:pt x="23620" y="229461"/>
                  <a:pt x="28805" y="241538"/>
                  <a:pt x="31686" y="243263"/>
                </a:cubicBezTo>
                <a:cubicBezTo>
                  <a:pt x="33990" y="244988"/>
                  <a:pt x="30533" y="246139"/>
                  <a:pt x="24196" y="246139"/>
                </a:cubicBezTo>
                <a:cubicBezTo>
                  <a:pt x="17859" y="245564"/>
                  <a:pt x="9218" y="245564"/>
                  <a:pt x="9218" y="248439"/>
                </a:cubicBezTo>
                <a:cubicBezTo>
                  <a:pt x="9218" y="250739"/>
                  <a:pt x="6337" y="254765"/>
                  <a:pt x="13250" y="261091"/>
                </a:cubicBezTo>
                <a:cubicBezTo>
                  <a:pt x="20164" y="267417"/>
                  <a:pt x="25925" y="269142"/>
                  <a:pt x="27653" y="276043"/>
                </a:cubicBezTo>
                <a:cubicBezTo>
                  <a:pt x="29957" y="282944"/>
                  <a:pt x="32262" y="288695"/>
                  <a:pt x="34566" y="290421"/>
                </a:cubicBezTo>
                <a:cubicBezTo>
                  <a:pt x="36871" y="292146"/>
                  <a:pt x="40904" y="291571"/>
                  <a:pt x="44360" y="286395"/>
                </a:cubicBezTo>
                <a:cubicBezTo>
                  <a:pt x="47816" y="281219"/>
                  <a:pt x="52426" y="290996"/>
                  <a:pt x="55882" y="286395"/>
                </a:cubicBezTo>
                <a:cubicBezTo>
                  <a:pt x="59339" y="281794"/>
                  <a:pt x="72013" y="282369"/>
                  <a:pt x="74893" y="280644"/>
                </a:cubicBezTo>
                <a:cubicBezTo>
                  <a:pt x="77774" y="278919"/>
                  <a:pt x="87568" y="274893"/>
                  <a:pt x="90448" y="272593"/>
                </a:cubicBezTo>
                <a:cubicBezTo>
                  <a:pt x="93329" y="270292"/>
                  <a:pt x="86992" y="265692"/>
                  <a:pt x="91600" y="263391"/>
                </a:cubicBezTo>
                <a:cubicBezTo>
                  <a:pt x="96209" y="261091"/>
                  <a:pt x="110612" y="265692"/>
                  <a:pt x="116373" y="258215"/>
                </a:cubicBezTo>
                <a:cubicBezTo>
                  <a:pt x="122134" y="250739"/>
                  <a:pt x="130775" y="243263"/>
                  <a:pt x="133656" y="240388"/>
                </a:cubicBezTo>
                <a:cubicBezTo>
                  <a:pt x="135960" y="238087"/>
                  <a:pt x="133656" y="235787"/>
                  <a:pt x="137112" y="232336"/>
                </a:cubicBezTo>
                <a:cubicBezTo>
                  <a:pt x="140569" y="228886"/>
                  <a:pt x="148058" y="224860"/>
                  <a:pt x="151515" y="226585"/>
                </a:cubicBezTo>
                <a:cubicBezTo>
                  <a:pt x="152091" y="227161"/>
                  <a:pt x="153244" y="227161"/>
                  <a:pt x="154395" y="227161"/>
                </a:cubicBezTo>
                <a:cubicBezTo>
                  <a:pt x="153820" y="226585"/>
                  <a:pt x="153820" y="226585"/>
                  <a:pt x="153820" y="226585"/>
                </a:cubicBezTo>
                <a:lnTo>
                  <a:pt x="156124" y="219109"/>
                </a:lnTo>
                <a:cubicBezTo>
                  <a:pt x="156124" y="219109"/>
                  <a:pt x="147483" y="215084"/>
                  <a:pt x="147483" y="208183"/>
                </a:cubicBezTo>
                <a:cubicBezTo>
                  <a:pt x="147483" y="201282"/>
                  <a:pt x="149787" y="195531"/>
                  <a:pt x="144026" y="195531"/>
                </a:cubicBezTo>
                <a:cubicBezTo>
                  <a:pt x="138841" y="195531"/>
                  <a:pt x="137689" y="190355"/>
                  <a:pt x="141721" y="185754"/>
                </a:cubicBezTo>
                <a:cubicBezTo>
                  <a:pt x="146330" y="181153"/>
                  <a:pt x="135384" y="172527"/>
                  <a:pt x="142873" y="172527"/>
                </a:cubicBezTo>
                <a:cubicBezTo>
                  <a:pt x="150363" y="172527"/>
                  <a:pt x="145178" y="160450"/>
                  <a:pt x="150363" y="159875"/>
                </a:cubicBezTo>
                <a:cubicBezTo>
                  <a:pt x="155548" y="158725"/>
                  <a:pt x="156700" y="154699"/>
                  <a:pt x="156700" y="148948"/>
                </a:cubicBezTo>
                <a:cubicBezTo>
                  <a:pt x="156700" y="143773"/>
                  <a:pt x="168798" y="140322"/>
                  <a:pt x="171679" y="139172"/>
                </a:cubicBezTo>
                <a:cubicBezTo>
                  <a:pt x="175135" y="138022"/>
                  <a:pt x="173983" y="120769"/>
                  <a:pt x="173983" y="120769"/>
                </a:cubicBezTo>
                <a:lnTo>
                  <a:pt x="173983" y="71886"/>
                </a:ln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0" name="Freeform 256">
            <a:extLst>
              <a:ext uri="{FF2B5EF4-FFF2-40B4-BE49-F238E27FC236}">
                <a16:creationId xmlns:a16="http://schemas.microsoft.com/office/drawing/2014/main" id="{108016CE-AF3E-932C-C8C7-EA2954351D64}"/>
              </a:ext>
            </a:extLst>
          </p:cNvPr>
          <p:cNvSpPr/>
          <p:nvPr/>
        </p:nvSpPr>
        <p:spPr>
          <a:xfrm>
            <a:off x="11613153" y="6126540"/>
            <a:ext cx="1550553" cy="1579900"/>
          </a:xfrm>
          <a:custGeom>
            <a:avLst/>
            <a:gdLst>
              <a:gd name="connsiteX0" fmla="*/ 175711 w 187383"/>
              <a:gd name="connsiteY0" fmla="*/ 41982 h 190930"/>
              <a:gd name="connsiteX1" fmla="*/ 163037 w 187383"/>
              <a:gd name="connsiteY1" fmla="*/ 10927 h 190930"/>
              <a:gd name="connsiteX2" fmla="*/ 161309 w 187383"/>
              <a:gd name="connsiteY2" fmla="*/ 13802 h 190930"/>
              <a:gd name="connsiteX3" fmla="*/ 142874 w 187383"/>
              <a:gd name="connsiteY3" fmla="*/ 12652 h 190930"/>
              <a:gd name="connsiteX4" fmla="*/ 120981 w 187383"/>
              <a:gd name="connsiteY4" fmla="*/ 8051 h 190930"/>
              <a:gd name="connsiteX5" fmla="*/ 84687 w 187383"/>
              <a:gd name="connsiteY5" fmla="*/ 13802 h 190930"/>
              <a:gd name="connsiteX6" fmla="*/ 65100 w 187383"/>
              <a:gd name="connsiteY6" fmla="*/ 15528 h 190930"/>
              <a:gd name="connsiteX7" fmla="*/ 32838 w 187383"/>
              <a:gd name="connsiteY7" fmla="*/ 6326 h 190930"/>
              <a:gd name="connsiteX8" fmla="*/ 6337 w 187383"/>
              <a:gd name="connsiteY8" fmla="*/ 0 h 190930"/>
              <a:gd name="connsiteX9" fmla="*/ 4609 w 187383"/>
              <a:gd name="connsiteY9" fmla="*/ 4601 h 190930"/>
              <a:gd name="connsiteX10" fmla="*/ 2304 w 187383"/>
              <a:gd name="connsiteY10" fmla="*/ 26454 h 190930"/>
              <a:gd name="connsiteX11" fmla="*/ 2304 w 187383"/>
              <a:gd name="connsiteY11" fmla="*/ 52333 h 190930"/>
              <a:gd name="connsiteX12" fmla="*/ 2304 w 187383"/>
              <a:gd name="connsiteY12" fmla="*/ 186904 h 190930"/>
              <a:gd name="connsiteX13" fmla="*/ 108883 w 187383"/>
              <a:gd name="connsiteY13" fmla="*/ 186904 h 190930"/>
              <a:gd name="connsiteX14" fmla="*/ 115220 w 187383"/>
              <a:gd name="connsiteY14" fmla="*/ 182879 h 190930"/>
              <a:gd name="connsiteX15" fmla="*/ 123286 w 187383"/>
              <a:gd name="connsiteY15" fmla="*/ 185754 h 190930"/>
              <a:gd name="connsiteX16" fmla="*/ 146330 w 187383"/>
              <a:gd name="connsiteY16" fmla="*/ 185754 h 190930"/>
              <a:gd name="connsiteX17" fmla="*/ 155548 w 187383"/>
              <a:gd name="connsiteY17" fmla="*/ 190930 h 190930"/>
              <a:gd name="connsiteX18" fmla="*/ 165918 w 187383"/>
              <a:gd name="connsiteY18" fmla="*/ 182879 h 190930"/>
              <a:gd name="connsiteX19" fmla="*/ 177440 w 187383"/>
              <a:gd name="connsiteY19" fmla="*/ 170227 h 190930"/>
              <a:gd name="connsiteX20" fmla="*/ 186657 w 187383"/>
              <a:gd name="connsiteY20" fmla="*/ 163901 h 190930"/>
              <a:gd name="connsiteX21" fmla="*/ 187233 w 187383"/>
              <a:gd name="connsiteY21" fmla="*/ 163326 h 190930"/>
              <a:gd name="connsiteX22" fmla="*/ 187233 w 187383"/>
              <a:gd name="connsiteY22" fmla="*/ 156425 h 190930"/>
              <a:gd name="connsiteX23" fmla="*/ 179168 w 187383"/>
              <a:gd name="connsiteY23" fmla="*/ 136872 h 190930"/>
              <a:gd name="connsiteX24" fmla="*/ 160733 w 187383"/>
              <a:gd name="connsiteY24" fmla="*/ 101216 h 190930"/>
              <a:gd name="connsiteX25" fmla="*/ 152667 w 187383"/>
              <a:gd name="connsiteY25" fmla="*/ 83388 h 190930"/>
              <a:gd name="connsiteX26" fmla="*/ 140569 w 187383"/>
              <a:gd name="connsiteY26" fmla="*/ 63835 h 190930"/>
              <a:gd name="connsiteX27" fmla="*/ 132504 w 187383"/>
              <a:gd name="connsiteY27" fmla="*/ 31630 h 190930"/>
              <a:gd name="connsiteX28" fmla="*/ 144026 w 187383"/>
              <a:gd name="connsiteY28" fmla="*/ 54059 h 190930"/>
              <a:gd name="connsiteX29" fmla="*/ 161885 w 187383"/>
              <a:gd name="connsiteY29" fmla="*/ 77062 h 190930"/>
              <a:gd name="connsiteX30" fmla="*/ 172255 w 187383"/>
              <a:gd name="connsiteY30" fmla="*/ 52333 h 190930"/>
              <a:gd name="connsiteX31" fmla="*/ 172831 w 187383"/>
              <a:gd name="connsiteY31" fmla="*/ 52908 h 190930"/>
              <a:gd name="connsiteX32" fmla="*/ 173407 w 187383"/>
              <a:gd name="connsiteY32" fmla="*/ 48308 h 190930"/>
              <a:gd name="connsiteX33" fmla="*/ 175711 w 187383"/>
              <a:gd name="connsiteY33" fmla="*/ 41982 h 19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7383" h="190930">
                <a:moveTo>
                  <a:pt x="175711" y="41982"/>
                </a:moveTo>
                <a:lnTo>
                  <a:pt x="163037" y="10927"/>
                </a:lnTo>
                <a:cubicBezTo>
                  <a:pt x="161885" y="12077"/>
                  <a:pt x="161309" y="13227"/>
                  <a:pt x="161309" y="13802"/>
                </a:cubicBezTo>
                <a:cubicBezTo>
                  <a:pt x="159004" y="16103"/>
                  <a:pt x="150939" y="10927"/>
                  <a:pt x="142874" y="12652"/>
                </a:cubicBezTo>
                <a:cubicBezTo>
                  <a:pt x="134808" y="14952"/>
                  <a:pt x="128471" y="12077"/>
                  <a:pt x="120981" y="8051"/>
                </a:cubicBezTo>
                <a:cubicBezTo>
                  <a:pt x="113492" y="4026"/>
                  <a:pt x="87568" y="9201"/>
                  <a:pt x="84687" y="13802"/>
                </a:cubicBezTo>
                <a:cubicBezTo>
                  <a:pt x="81231" y="18978"/>
                  <a:pt x="72589" y="18978"/>
                  <a:pt x="65100" y="15528"/>
                </a:cubicBezTo>
                <a:cubicBezTo>
                  <a:pt x="57610" y="12652"/>
                  <a:pt x="47240" y="8051"/>
                  <a:pt x="32838" y="6326"/>
                </a:cubicBezTo>
                <a:cubicBezTo>
                  <a:pt x="19588" y="5176"/>
                  <a:pt x="8641" y="3451"/>
                  <a:pt x="6337" y="0"/>
                </a:cubicBezTo>
                <a:cubicBezTo>
                  <a:pt x="5761" y="1725"/>
                  <a:pt x="5185" y="2875"/>
                  <a:pt x="4609" y="4601"/>
                </a:cubicBezTo>
                <a:cubicBezTo>
                  <a:pt x="0" y="16678"/>
                  <a:pt x="8066" y="19553"/>
                  <a:pt x="2304" y="26454"/>
                </a:cubicBezTo>
                <a:cubicBezTo>
                  <a:pt x="-2881" y="32780"/>
                  <a:pt x="2304" y="40256"/>
                  <a:pt x="2304" y="52333"/>
                </a:cubicBezTo>
                <a:cubicBezTo>
                  <a:pt x="2304" y="60384"/>
                  <a:pt x="2304" y="139172"/>
                  <a:pt x="2304" y="186904"/>
                </a:cubicBezTo>
                <a:lnTo>
                  <a:pt x="108883" y="186904"/>
                </a:lnTo>
                <a:cubicBezTo>
                  <a:pt x="108883" y="186904"/>
                  <a:pt x="111764" y="184604"/>
                  <a:pt x="115220" y="182879"/>
                </a:cubicBezTo>
                <a:cubicBezTo>
                  <a:pt x="118101" y="180578"/>
                  <a:pt x="123286" y="185754"/>
                  <a:pt x="123286" y="185754"/>
                </a:cubicBezTo>
                <a:lnTo>
                  <a:pt x="146330" y="185754"/>
                </a:lnTo>
                <a:cubicBezTo>
                  <a:pt x="146330" y="185754"/>
                  <a:pt x="150363" y="190930"/>
                  <a:pt x="155548" y="190930"/>
                </a:cubicBezTo>
                <a:cubicBezTo>
                  <a:pt x="160733" y="190930"/>
                  <a:pt x="157852" y="182879"/>
                  <a:pt x="165918" y="182879"/>
                </a:cubicBezTo>
                <a:cubicBezTo>
                  <a:pt x="173983" y="182879"/>
                  <a:pt x="172255" y="170227"/>
                  <a:pt x="177440" y="170227"/>
                </a:cubicBezTo>
                <a:cubicBezTo>
                  <a:pt x="182625" y="170227"/>
                  <a:pt x="181472" y="171377"/>
                  <a:pt x="186657" y="163901"/>
                </a:cubicBezTo>
                <a:cubicBezTo>
                  <a:pt x="186657" y="163901"/>
                  <a:pt x="187233" y="163326"/>
                  <a:pt x="187233" y="163326"/>
                </a:cubicBezTo>
                <a:cubicBezTo>
                  <a:pt x="186657" y="161025"/>
                  <a:pt x="186657" y="158725"/>
                  <a:pt x="187233" y="156425"/>
                </a:cubicBezTo>
                <a:cubicBezTo>
                  <a:pt x="188386" y="148373"/>
                  <a:pt x="182625" y="148373"/>
                  <a:pt x="179168" y="136872"/>
                </a:cubicBezTo>
                <a:cubicBezTo>
                  <a:pt x="175711" y="125370"/>
                  <a:pt x="160733" y="108117"/>
                  <a:pt x="160733" y="101216"/>
                </a:cubicBezTo>
                <a:cubicBezTo>
                  <a:pt x="160157" y="94315"/>
                  <a:pt x="152091" y="90864"/>
                  <a:pt x="152667" y="83388"/>
                </a:cubicBezTo>
                <a:cubicBezTo>
                  <a:pt x="152667" y="75912"/>
                  <a:pt x="148635" y="75337"/>
                  <a:pt x="140569" y="63835"/>
                </a:cubicBezTo>
                <a:cubicBezTo>
                  <a:pt x="132504" y="52333"/>
                  <a:pt x="130199" y="32780"/>
                  <a:pt x="132504" y="31630"/>
                </a:cubicBezTo>
                <a:cubicBezTo>
                  <a:pt x="134808" y="31055"/>
                  <a:pt x="141721" y="48308"/>
                  <a:pt x="144026" y="54059"/>
                </a:cubicBezTo>
                <a:cubicBezTo>
                  <a:pt x="146906" y="59810"/>
                  <a:pt x="155548" y="77062"/>
                  <a:pt x="161885" y="77062"/>
                </a:cubicBezTo>
                <a:cubicBezTo>
                  <a:pt x="168222" y="77062"/>
                  <a:pt x="170527" y="51183"/>
                  <a:pt x="172255" y="52333"/>
                </a:cubicBezTo>
                <a:cubicBezTo>
                  <a:pt x="172255" y="52333"/>
                  <a:pt x="172831" y="52908"/>
                  <a:pt x="172831" y="52908"/>
                </a:cubicBezTo>
                <a:lnTo>
                  <a:pt x="173407" y="48308"/>
                </a:lnTo>
                <a:lnTo>
                  <a:pt x="175711" y="41982"/>
                </a:ln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1" name="Freeform 264">
            <a:extLst>
              <a:ext uri="{FF2B5EF4-FFF2-40B4-BE49-F238E27FC236}">
                <a16:creationId xmlns:a16="http://schemas.microsoft.com/office/drawing/2014/main" id="{6E4E059F-02DA-875B-4809-3879C53FD418}"/>
              </a:ext>
            </a:extLst>
          </p:cNvPr>
          <p:cNvSpPr/>
          <p:nvPr/>
        </p:nvSpPr>
        <p:spPr>
          <a:xfrm>
            <a:off x="13100491" y="5655259"/>
            <a:ext cx="201299" cy="266655"/>
          </a:xfrm>
          <a:custGeom>
            <a:avLst/>
            <a:gdLst>
              <a:gd name="connsiteX0" fmla="*/ 21892 w 24327"/>
              <a:gd name="connsiteY0" fmla="*/ 13823 h 32225"/>
              <a:gd name="connsiteX1" fmla="*/ 13250 w 24327"/>
              <a:gd name="connsiteY1" fmla="*/ 21 h 32225"/>
              <a:gd name="connsiteX2" fmla="*/ 13250 w 24327"/>
              <a:gd name="connsiteY2" fmla="*/ 2321 h 32225"/>
              <a:gd name="connsiteX3" fmla="*/ 0 w 24327"/>
              <a:gd name="connsiteY3" fmla="*/ 28775 h 32225"/>
              <a:gd name="connsiteX4" fmla="*/ 8066 w 24327"/>
              <a:gd name="connsiteY4" fmla="*/ 32226 h 32225"/>
              <a:gd name="connsiteX5" fmla="*/ 21892 w 24327"/>
              <a:gd name="connsiteY5" fmla="*/ 13823 h 3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27" h="32225">
                <a:moveTo>
                  <a:pt x="21892" y="13823"/>
                </a:moveTo>
                <a:cubicBezTo>
                  <a:pt x="25349" y="10948"/>
                  <a:pt x="27077" y="-554"/>
                  <a:pt x="13250" y="21"/>
                </a:cubicBezTo>
                <a:cubicBezTo>
                  <a:pt x="13250" y="596"/>
                  <a:pt x="13250" y="1746"/>
                  <a:pt x="13250" y="2321"/>
                </a:cubicBezTo>
                <a:cubicBezTo>
                  <a:pt x="13250" y="7497"/>
                  <a:pt x="4609" y="18424"/>
                  <a:pt x="0" y="28775"/>
                </a:cubicBezTo>
                <a:lnTo>
                  <a:pt x="8066" y="32226"/>
                </a:lnTo>
                <a:cubicBezTo>
                  <a:pt x="12674" y="24750"/>
                  <a:pt x="19011" y="16123"/>
                  <a:pt x="21892" y="13823"/>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2" name="Freeform 265">
            <a:extLst>
              <a:ext uri="{FF2B5EF4-FFF2-40B4-BE49-F238E27FC236}">
                <a16:creationId xmlns:a16="http://schemas.microsoft.com/office/drawing/2014/main" id="{C9D48631-C0D0-BFB3-5F93-B7784280A398}"/>
              </a:ext>
            </a:extLst>
          </p:cNvPr>
          <p:cNvSpPr/>
          <p:nvPr/>
        </p:nvSpPr>
        <p:spPr>
          <a:xfrm>
            <a:off x="13171999" y="5250937"/>
            <a:ext cx="996325" cy="794708"/>
          </a:xfrm>
          <a:custGeom>
            <a:avLst/>
            <a:gdLst>
              <a:gd name="connsiteX0" fmla="*/ 13250 w 120405"/>
              <a:gd name="connsiteY0" fmla="*/ 62685 h 96040"/>
              <a:gd name="connsiteX1" fmla="*/ 0 w 120405"/>
              <a:gd name="connsiteY1" fmla="*/ 81088 h 96040"/>
              <a:gd name="connsiteX2" fmla="*/ 1152 w 120405"/>
              <a:gd name="connsiteY2" fmla="*/ 81663 h 96040"/>
              <a:gd name="connsiteX3" fmla="*/ 2305 w 120405"/>
              <a:gd name="connsiteY3" fmla="*/ 87989 h 96040"/>
              <a:gd name="connsiteX4" fmla="*/ 18435 w 120405"/>
              <a:gd name="connsiteY4" fmla="*/ 96040 h 96040"/>
              <a:gd name="connsiteX5" fmla="*/ 35142 w 120405"/>
              <a:gd name="connsiteY5" fmla="*/ 86839 h 96040"/>
              <a:gd name="connsiteX6" fmla="*/ 95057 w 120405"/>
              <a:gd name="connsiteY6" fmla="*/ 56359 h 96040"/>
              <a:gd name="connsiteX7" fmla="*/ 99090 w 120405"/>
              <a:gd name="connsiteY7" fmla="*/ 46007 h 96040"/>
              <a:gd name="connsiteX8" fmla="*/ 100242 w 120405"/>
              <a:gd name="connsiteY8" fmla="*/ 32205 h 96040"/>
              <a:gd name="connsiteX9" fmla="*/ 99090 w 120405"/>
              <a:gd name="connsiteY9" fmla="*/ 17828 h 96040"/>
              <a:gd name="connsiteX10" fmla="*/ 110036 w 120405"/>
              <a:gd name="connsiteY10" fmla="*/ 9777 h 96040"/>
              <a:gd name="connsiteX11" fmla="*/ 120406 w 120405"/>
              <a:gd name="connsiteY11" fmla="*/ 2300 h 96040"/>
              <a:gd name="connsiteX12" fmla="*/ 113492 w 120405"/>
              <a:gd name="connsiteY12" fmla="*/ 0 h 96040"/>
              <a:gd name="connsiteX13" fmla="*/ 93905 w 120405"/>
              <a:gd name="connsiteY13" fmla="*/ 2875 h 96040"/>
              <a:gd name="connsiteX14" fmla="*/ 70285 w 120405"/>
              <a:gd name="connsiteY14" fmla="*/ 9777 h 96040"/>
              <a:gd name="connsiteX15" fmla="*/ 50121 w 120405"/>
              <a:gd name="connsiteY15" fmla="*/ 9201 h 96040"/>
              <a:gd name="connsiteX16" fmla="*/ 39175 w 120405"/>
              <a:gd name="connsiteY16" fmla="*/ 11502 h 96040"/>
              <a:gd name="connsiteX17" fmla="*/ 23044 w 120405"/>
              <a:gd name="connsiteY17" fmla="*/ 11502 h 96040"/>
              <a:gd name="connsiteX18" fmla="*/ 16131 w 120405"/>
              <a:gd name="connsiteY18" fmla="*/ 15528 h 96040"/>
              <a:gd name="connsiteX19" fmla="*/ 5761 w 120405"/>
              <a:gd name="connsiteY19" fmla="*/ 27604 h 96040"/>
              <a:gd name="connsiteX20" fmla="*/ 5761 w 120405"/>
              <a:gd name="connsiteY20" fmla="*/ 36231 h 96040"/>
              <a:gd name="connsiteX21" fmla="*/ 4609 w 120405"/>
              <a:gd name="connsiteY21" fmla="*/ 49458 h 96040"/>
              <a:gd name="connsiteX22" fmla="*/ 13250 w 120405"/>
              <a:gd name="connsiteY22" fmla="*/ 62685 h 9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05" h="96040">
                <a:moveTo>
                  <a:pt x="13250" y="62685"/>
                </a:moveTo>
                <a:cubicBezTo>
                  <a:pt x="10370" y="64985"/>
                  <a:pt x="4033" y="73612"/>
                  <a:pt x="0" y="81088"/>
                </a:cubicBezTo>
                <a:lnTo>
                  <a:pt x="1152" y="81663"/>
                </a:lnTo>
                <a:lnTo>
                  <a:pt x="2305" y="87989"/>
                </a:lnTo>
                <a:lnTo>
                  <a:pt x="18435" y="96040"/>
                </a:lnTo>
                <a:cubicBezTo>
                  <a:pt x="18435" y="96040"/>
                  <a:pt x="29957" y="87989"/>
                  <a:pt x="35142" y="86839"/>
                </a:cubicBezTo>
                <a:cubicBezTo>
                  <a:pt x="39751" y="86264"/>
                  <a:pt x="95057" y="56359"/>
                  <a:pt x="95057" y="56359"/>
                </a:cubicBezTo>
                <a:cubicBezTo>
                  <a:pt x="95057" y="56359"/>
                  <a:pt x="99666" y="48883"/>
                  <a:pt x="99090" y="46007"/>
                </a:cubicBezTo>
                <a:cubicBezTo>
                  <a:pt x="98514" y="43132"/>
                  <a:pt x="97937" y="35656"/>
                  <a:pt x="100242" y="32205"/>
                </a:cubicBezTo>
                <a:cubicBezTo>
                  <a:pt x="103123" y="28755"/>
                  <a:pt x="96785" y="23004"/>
                  <a:pt x="99090" y="17828"/>
                </a:cubicBezTo>
                <a:cubicBezTo>
                  <a:pt x="101394" y="12077"/>
                  <a:pt x="110036" y="9777"/>
                  <a:pt x="110036" y="9777"/>
                </a:cubicBezTo>
                <a:lnTo>
                  <a:pt x="120406" y="2300"/>
                </a:lnTo>
                <a:lnTo>
                  <a:pt x="113492" y="0"/>
                </a:lnTo>
                <a:cubicBezTo>
                  <a:pt x="113492" y="0"/>
                  <a:pt x="104275" y="3451"/>
                  <a:pt x="93905" y="2875"/>
                </a:cubicBezTo>
                <a:cubicBezTo>
                  <a:pt x="83535" y="2300"/>
                  <a:pt x="81231" y="9777"/>
                  <a:pt x="70285" y="9777"/>
                </a:cubicBezTo>
                <a:cubicBezTo>
                  <a:pt x="59339" y="9777"/>
                  <a:pt x="53002" y="12652"/>
                  <a:pt x="50121" y="9201"/>
                </a:cubicBezTo>
                <a:cubicBezTo>
                  <a:pt x="47240" y="5751"/>
                  <a:pt x="46665" y="8051"/>
                  <a:pt x="39175" y="11502"/>
                </a:cubicBezTo>
                <a:cubicBezTo>
                  <a:pt x="31686" y="14952"/>
                  <a:pt x="26501" y="14377"/>
                  <a:pt x="23044" y="11502"/>
                </a:cubicBezTo>
                <a:cubicBezTo>
                  <a:pt x="19588" y="8626"/>
                  <a:pt x="16707" y="12077"/>
                  <a:pt x="16131" y="15528"/>
                </a:cubicBezTo>
                <a:cubicBezTo>
                  <a:pt x="15555" y="18978"/>
                  <a:pt x="16707" y="26454"/>
                  <a:pt x="5761" y="27604"/>
                </a:cubicBezTo>
                <a:cubicBezTo>
                  <a:pt x="5185" y="31055"/>
                  <a:pt x="4033" y="33930"/>
                  <a:pt x="5761" y="36231"/>
                </a:cubicBezTo>
                <a:cubicBezTo>
                  <a:pt x="8642" y="39681"/>
                  <a:pt x="5185" y="43707"/>
                  <a:pt x="4609" y="49458"/>
                </a:cubicBezTo>
                <a:cubicBezTo>
                  <a:pt x="18435" y="48883"/>
                  <a:pt x="16707" y="59809"/>
                  <a:pt x="13250" y="62685"/>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3" name="Freeform 270">
            <a:extLst>
              <a:ext uri="{FF2B5EF4-FFF2-40B4-BE49-F238E27FC236}">
                <a16:creationId xmlns:a16="http://schemas.microsoft.com/office/drawing/2014/main" id="{CF37F80B-5DA8-A412-9EB3-D59C90426D74}"/>
              </a:ext>
            </a:extLst>
          </p:cNvPr>
          <p:cNvSpPr/>
          <p:nvPr/>
        </p:nvSpPr>
        <p:spPr>
          <a:xfrm>
            <a:off x="13090954" y="6017091"/>
            <a:ext cx="71503" cy="199861"/>
          </a:xfrm>
          <a:custGeom>
            <a:avLst/>
            <a:gdLst>
              <a:gd name="connsiteX0" fmla="*/ 3457 w 8641"/>
              <a:gd name="connsiteY0" fmla="*/ 575 h 24153"/>
              <a:gd name="connsiteX1" fmla="*/ 0 w 8641"/>
              <a:gd name="connsiteY1" fmla="*/ 13227 h 24153"/>
              <a:gd name="connsiteX2" fmla="*/ 6337 w 8641"/>
              <a:gd name="connsiteY2" fmla="*/ 24154 h 24153"/>
              <a:gd name="connsiteX3" fmla="*/ 8066 w 8641"/>
              <a:gd name="connsiteY3" fmla="*/ 3451 h 24153"/>
              <a:gd name="connsiteX4" fmla="*/ 8642 w 8641"/>
              <a:gd name="connsiteY4" fmla="*/ 0 h 24153"/>
              <a:gd name="connsiteX5" fmla="*/ 3457 w 8641"/>
              <a:gd name="connsiteY5" fmla="*/ 575 h 2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1" h="24153">
                <a:moveTo>
                  <a:pt x="3457" y="575"/>
                </a:moveTo>
                <a:cubicBezTo>
                  <a:pt x="576" y="1725"/>
                  <a:pt x="0" y="11502"/>
                  <a:pt x="0" y="13227"/>
                </a:cubicBezTo>
                <a:cubicBezTo>
                  <a:pt x="0" y="14377"/>
                  <a:pt x="1729" y="19553"/>
                  <a:pt x="6337" y="24154"/>
                </a:cubicBezTo>
                <a:cubicBezTo>
                  <a:pt x="7490" y="16678"/>
                  <a:pt x="7490" y="6326"/>
                  <a:pt x="8066" y="3451"/>
                </a:cubicBezTo>
                <a:cubicBezTo>
                  <a:pt x="8066" y="2875"/>
                  <a:pt x="8642" y="1725"/>
                  <a:pt x="8642" y="0"/>
                </a:cubicBezTo>
                <a:cubicBezTo>
                  <a:pt x="6337" y="575"/>
                  <a:pt x="4033" y="575"/>
                  <a:pt x="3457" y="575"/>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4" name="Freeform 271">
            <a:extLst>
              <a:ext uri="{FF2B5EF4-FFF2-40B4-BE49-F238E27FC236}">
                <a16:creationId xmlns:a16="http://schemas.microsoft.com/office/drawing/2014/main" id="{43369D48-1793-60D1-7BCC-E3700D123352}"/>
              </a:ext>
            </a:extLst>
          </p:cNvPr>
          <p:cNvSpPr/>
          <p:nvPr/>
        </p:nvSpPr>
        <p:spPr>
          <a:xfrm>
            <a:off x="12967013" y="5898124"/>
            <a:ext cx="209747" cy="604354"/>
          </a:xfrm>
          <a:custGeom>
            <a:avLst/>
            <a:gdLst>
              <a:gd name="connsiteX0" fmla="*/ 11522 w 25348"/>
              <a:gd name="connsiteY0" fmla="*/ 71886 h 73036"/>
              <a:gd name="connsiteX1" fmla="*/ 13250 w 25348"/>
              <a:gd name="connsiteY1" fmla="*/ 73037 h 73036"/>
              <a:gd name="connsiteX2" fmla="*/ 19011 w 25348"/>
              <a:gd name="connsiteY2" fmla="*/ 47732 h 73036"/>
              <a:gd name="connsiteX3" fmla="*/ 21316 w 25348"/>
              <a:gd name="connsiteY3" fmla="*/ 39106 h 73036"/>
              <a:gd name="connsiteX4" fmla="*/ 14979 w 25348"/>
              <a:gd name="connsiteY4" fmla="*/ 28179 h 73036"/>
              <a:gd name="connsiteX5" fmla="*/ 18435 w 25348"/>
              <a:gd name="connsiteY5" fmla="*/ 15528 h 73036"/>
              <a:gd name="connsiteX6" fmla="*/ 23620 w 25348"/>
              <a:gd name="connsiteY6" fmla="*/ 15528 h 73036"/>
              <a:gd name="connsiteX7" fmla="*/ 25349 w 25348"/>
              <a:gd name="connsiteY7" fmla="*/ 4026 h 73036"/>
              <a:gd name="connsiteX8" fmla="*/ 16707 w 25348"/>
              <a:gd name="connsiteY8" fmla="*/ 0 h 73036"/>
              <a:gd name="connsiteX9" fmla="*/ 13827 w 25348"/>
              <a:gd name="connsiteY9" fmla="*/ 8051 h 73036"/>
              <a:gd name="connsiteX10" fmla="*/ 0 w 25348"/>
              <a:gd name="connsiteY10" fmla="*/ 39106 h 73036"/>
              <a:gd name="connsiteX11" fmla="*/ 12674 w 25348"/>
              <a:gd name="connsiteY11" fmla="*/ 70161 h 73036"/>
              <a:gd name="connsiteX12" fmla="*/ 11522 w 25348"/>
              <a:gd name="connsiteY12" fmla="*/ 71886 h 7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48" h="73036">
                <a:moveTo>
                  <a:pt x="11522" y="71886"/>
                </a:moveTo>
                <a:cubicBezTo>
                  <a:pt x="12098" y="72461"/>
                  <a:pt x="12674" y="72461"/>
                  <a:pt x="13250" y="73037"/>
                </a:cubicBezTo>
                <a:cubicBezTo>
                  <a:pt x="14979" y="62685"/>
                  <a:pt x="16707" y="50033"/>
                  <a:pt x="19011" y="47732"/>
                </a:cubicBezTo>
                <a:cubicBezTo>
                  <a:pt x="20164" y="46582"/>
                  <a:pt x="20740" y="43132"/>
                  <a:pt x="21316" y="39106"/>
                </a:cubicBezTo>
                <a:cubicBezTo>
                  <a:pt x="16707" y="33930"/>
                  <a:pt x="14979" y="29330"/>
                  <a:pt x="14979" y="28179"/>
                </a:cubicBezTo>
                <a:cubicBezTo>
                  <a:pt x="14979" y="26454"/>
                  <a:pt x="16131" y="16678"/>
                  <a:pt x="18435" y="15528"/>
                </a:cubicBezTo>
                <a:cubicBezTo>
                  <a:pt x="19011" y="14952"/>
                  <a:pt x="21316" y="15528"/>
                  <a:pt x="23620" y="15528"/>
                </a:cubicBezTo>
                <a:cubicBezTo>
                  <a:pt x="24196" y="12652"/>
                  <a:pt x="24772" y="8051"/>
                  <a:pt x="25349" y="4026"/>
                </a:cubicBezTo>
                <a:lnTo>
                  <a:pt x="16707" y="0"/>
                </a:lnTo>
                <a:cubicBezTo>
                  <a:pt x="15555" y="2875"/>
                  <a:pt x="14403" y="5751"/>
                  <a:pt x="13827" y="8051"/>
                </a:cubicBezTo>
                <a:cubicBezTo>
                  <a:pt x="12098" y="17253"/>
                  <a:pt x="4033" y="32780"/>
                  <a:pt x="0" y="39106"/>
                </a:cubicBezTo>
                <a:lnTo>
                  <a:pt x="12674" y="70161"/>
                </a:lnTo>
                <a:lnTo>
                  <a:pt x="11522" y="71886"/>
                </a:ln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5" name="Freeform 272">
            <a:extLst>
              <a:ext uri="{FF2B5EF4-FFF2-40B4-BE49-F238E27FC236}">
                <a16:creationId xmlns:a16="http://schemas.microsoft.com/office/drawing/2014/main" id="{68BDD65F-AACE-4D6B-3280-B6C85FC648F4}"/>
              </a:ext>
            </a:extLst>
          </p:cNvPr>
          <p:cNvSpPr/>
          <p:nvPr/>
        </p:nvSpPr>
        <p:spPr>
          <a:xfrm>
            <a:off x="13071889" y="5883852"/>
            <a:ext cx="610188" cy="671257"/>
          </a:xfrm>
          <a:custGeom>
            <a:avLst/>
            <a:gdLst>
              <a:gd name="connsiteX0" fmla="*/ 69132 w 73741"/>
              <a:gd name="connsiteY0" fmla="*/ 0 h 81121"/>
              <a:gd name="connsiteX1" fmla="*/ 46664 w 73741"/>
              <a:gd name="connsiteY1" fmla="*/ 10352 h 81121"/>
              <a:gd name="connsiteX2" fmla="*/ 29957 w 73741"/>
              <a:gd name="connsiteY2" fmla="*/ 19553 h 81121"/>
              <a:gd name="connsiteX3" fmla="*/ 13826 w 73741"/>
              <a:gd name="connsiteY3" fmla="*/ 11502 h 81121"/>
              <a:gd name="connsiteX4" fmla="*/ 12674 w 73741"/>
              <a:gd name="connsiteY4" fmla="*/ 5176 h 81121"/>
              <a:gd name="connsiteX5" fmla="*/ 12098 w 73741"/>
              <a:gd name="connsiteY5" fmla="*/ 5176 h 81121"/>
              <a:gd name="connsiteX6" fmla="*/ 9794 w 73741"/>
              <a:gd name="connsiteY6" fmla="*/ 20128 h 81121"/>
              <a:gd name="connsiteX7" fmla="*/ 5761 w 73741"/>
              <a:gd name="connsiteY7" fmla="*/ 48883 h 81121"/>
              <a:gd name="connsiteX8" fmla="*/ 0 w 73741"/>
              <a:gd name="connsiteY8" fmla="*/ 74187 h 81121"/>
              <a:gd name="connsiteX9" fmla="*/ 15555 w 73741"/>
              <a:gd name="connsiteY9" fmla="*/ 81088 h 81121"/>
              <a:gd name="connsiteX10" fmla="*/ 29381 w 73741"/>
              <a:gd name="connsiteY10" fmla="*/ 70736 h 81121"/>
              <a:gd name="connsiteX11" fmla="*/ 40327 w 73741"/>
              <a:gd name="connsiteY11" fmla="*/ 66135 h 81121"/>
              <a:gd name="connsiteX12" fmla="*/ 50697 w 73741"/>
              <a:gd name="connsiteY12" fmla="*/ 58084 h 81121"/>
              <a:gd name="connsiteX13" fmla="*/ 37447 w 73741"/>
              <a:gd name="connsiteY13" fmla="*/ 43132 h 81121"/>
              <a:gd name="connsiteX14" fmla="*/ 54730 w 73741"/>
              <a:gd name="connsiteY14" fmla="*/ 32205 h 81121"/>
              <a:gd name="connsiteX15" fmla="*/ 72589 w 73741"/>
              <a:gd name="connsiteY15" fmla="*/ 26454 h 81121"/>
              <a:gd name="connsiteX16" fmla="*/ 73741 w 73741"/>
              <a:gd name="connsiteY16" fmla="*/ 26454 h 81121"/>
              <a:gd name="connsiteX17" fmla="*/ 69708 w 73741"/>
              <a:gd name="connsiteY17" fmla="*/ 9201 h 81121"/>
              <a:gd name="connsiteX18" fmla="*/ 69132 w 73741"/>
              <a:gd name="connsiteY18" fmla="*/ 0 h 8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741" h="81121">
                <a:moveTo>
                  <a:pt x="69132" y="0"/>
                </a:moveTo>
                <a:cubicBezTo>
                  <a:pt x="58186" y="5751"/>
                  <a:pt x="48392" y="10352"/>
                  <a:pt x="46664" y="10352"/>
                </a:cubicBezTo>
                <a:cubicBezTo>
                  <a:pt x="42055" y="10927"/>
                  <a:pt x="29957" y="19553"/>
                  <a:pt x="29957" y="19553"/>
                </a:cubicBezTo>
                <a:lnTo>
                  <a:pt x="13826" y="11502"/>
                </a:lnTo>
                <a:lnTo>
                  <a:pt x="12674" y="5176"/>
                </a:lnTo>
                <a:lnTo>
                  <a:pt x="12098" y="5176"/>
                </a:lnTo>
                <a:cubicBezTo>
                  <a:pt x="11522" y="10927"/>
                  <a:pt x="10370" y="17828"/>
                  <a:pt x="9794" y="20128"/>
                </a:cubicBezTo>
                <a:cubicBezTo>
                  <a:pt x="8642" y="24154"/>
                  <a:pt x="8642" y="44857"/>
                  <a:pt x="5761" y="48883"/>
                </a:cubicBezTo>
                <a:cubicBezTo>
                  <a:pt x="4033" y="51183"/>
                  <a:pt x="1728" y="63835"/>
                  <a:pt x="0" y="74187"/>
                </a:cubicBezTo>
                <a:cubicBezTo>
                  <a:pt x="5761" y="77062"/>
                  <a:pt x="12674" y="80513"/>
                  <a:pt x="15555" y="81088"/>
                </a:cubicBezTo>
                <a:cubicBezTo>
                  <a:pt x="21892" y="81663"/>
                  <a:pt x="29381" y="74762"/>
                  <a:pt x="29381" y="70736"/>
                </a:cubicBezTo>
                <a:cubicBezTo>
                  <a:pt x="29381" y="66710"/>
                  <a:pt x="35142" y="66135"/>
                  <a:pt x="40327" y="66135"/>
                </a:cubicBezTo>
                <a:cubicBezTo>
                  <a:pt x="46088" y="66135"/>
                  <a:pt x="46664" y="59809"/>
                  <a:pt x="50697" y="58084"/>
                </a:cubicBezTo>
                <a:cubicBezTo>
                  <a:pt x="54730" y="55784"/>
                  <a:pt x="41479" y="44282"/>
                  <a:pt x="37447" y="43132"/>
                </a:cubicBezTo>
                <a:cubicBezTo>
                  <a:pt x="33414" y="41982"/>
                  <a:pt x="40903" y="32780"/>
                  <a:pt x="54730" y="32205"/>
                </a:cubicBezTo>
                <a:cubicBezTo>
                  <a:pt x="68556" y="31630"/>
                  <a:pt x="65100" y="26454"/>
                  <a:pt x="72589" y="26454"/>
                </a:cubicBezTo>
                <a:cubicBezTo>
                  <a:pt x="73165" y="26454"/>
                  <a:pt x="73165" y="26454"/>
                  <a:pt x="73741" y="26454"/>
                </a:cubicBezTo>
                <a:cubicBezTo>
                  <a:pt x="72589" y="20128"/>
                  <a:pt x="70861" y="13227"/>
                  <a:pt x="69708" y="9201"/>
                </a:cubicBezTo>
                <a:cubicBezTo>
                  <a:pt x="69708" y="6326"/>
                  <a:pt x="69708" y="3450"/>
                  <a:pt x="69132" y="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6" name="Freeform 285">
            <a:extLst>
              <a:ext uri="{FF2B5EF4-FFF2-40B4-BE49-F238E27FC236}">
                <a16:creationId xmlns:a16="http://schemas.microsoft.com/office/drawing/2014/main" id="{5285F0F9-9C7A-4A9E-4CE2-C8FEF50174C0}"/>
              </a:ext>
            </a:extLst>
          </p:cNvPr>
          <p:cNvSpPr/>
          <p:nvPr/>
        </p:nvSpPr>
        <p:spPr>
          <a:xfrm>
            <a:off x="10140609" y="2002262"/>
            <a:ext cx="1374700" cy="1126272"/>
          </a:xfrm>
          <a:custGeom>
            <a:avLst/>
            <a:gdLst>
              <a:gd name="connsiteX0" fmla="*/ 2244 w 166132"/>
              <a:gd name="connsiteY0" fmla="*/ 27993 h 136109"/>
              <a:gd name="connsiteX1" fmla="*/ 1668 w 166132"/>
              <a:gd name="connsiteY1" fmla="*/ 46395 h 136109"/>
              <a:gd name="connsiteX2" fmla="*/ 2821 w 166132"/>
              <a:gd name="connsiteY2" fmla="*/ 53296 h 136109"/>
              <a:gd name="connsiteX3" fmla="*/ 6854 w 166132"/>
              <a:gd name="connsiteY3" fmla="*/ 61923 h 136109"/>
              <a:gd name="connsiteX4" fmla="*/ 9158 w 166132"/>
              <a:gd name="connsiteY4" fmla="*/ 71124 h 136109"/>
              <a:gd name="connsiteX5" fmla="*/ 13191 w 166132"/>
              <a:gd name="connsiteY5" fmla="*/ 84926 h 136109"/>
              <a:gd name="connsiteX6" fmla="*/ 13767 w 166132"/>
              <a:gd name="connsiteY6" fmla="*/ 92978 h 136109"/>
              <a:gd name="connsiteX7" fmla="*/ 24137 w 166132"/>
              <a:gd name="connsiteY7" fmla="*/ 98729 h 136109"/>
              <a:gd name="connsiteX8" fmla="*/ 35659 w 166132"/>
              <a:gd name="connsiteY8" fmla="*/ 106780 h 136109"/>
              <a:gd name="connsiteX9" fmla="*/ 44876 w 166132"/>
              <a:gd name="connsiteY9" fmla="*/ 110805 h 136109"/>
              <a:gd name="connsiteX10" fmla="*/ 54670 w 166132"/>
              <a:gd name="connsiteY10" fmla="*/ 109080 h 136109"/>
              <a:gd name="connsiteX11" fmla="*/ 59279 w 166132"/>
              <a:gd name="connsiteY11" fmla="*/ 115406 h 136109"/>
              <a:gd name="connsiteX12" fmla="*/ 70801 w 166132"/>
              <a:gd name="connsiteY12" fmla="*/ 118282 h 136109"/>
              <a:gd name="connsiteX13" fmla="*/ 78866 w 166132"/>
              <a:gd name="connsiteY13" fmla="*/ 128633 h 136109"/>
              <a:gd name="connsiteX14" fmla="*/ 89236 w 166132"/>
              <a:gd name="connsiteY14" fmla="*/ 127483 h 136109"/>
              <a:gd name="connsiteX15" fmla="*/ 104215 w 166132"/>
              <a:gd name="connsiteY15" fmla="*/ 129208 h 136109"/>
              <a:gd name="connsiteX16" fmla="*/ 117465 w 166132"/>
              <a:gd name="connsiteY16" fmla="*/ 130359 h 136109"/>
              <a:gd name="connsiteX17" fmla="*/ 132444 w 166132"/>
              <a:gd name="connsiteY17" fmla="*/ 133809 h 136109"/>
              <a:gd name="connsiteX18" fmla="*/ 142814 w 166132"/>
              <a:gd name="connsiteY18" fmla="*/ 136110 h 136109"/>
              <a:gd name="connsiteX19" fmla="*/ 142238 w 166132"/>
              <a:gd name="connsiteY19" fmla="*/ 124608 h 136109"/>
              <a:gd name="connsiteX20" fmla="*/ 158369 w 166132"/>
              <a:gd name="connsiteY20" fmla="*/ 107930 h 136109"/>
              <a:gd name="connsiteX21" fmla="*/ 165858 w 166132"/>
              <a:gd name="connsiteY21" fmla="*/ 101604 h 136109"/>
              <a:gd name="connsiteX22" fmla="*/ 158944 w 166132"/>
              <a:gd name="connsiteY22" fmla="*/ 84351 h 136109"/>
              <a:gd name="connsiteX23" fmla="*/ 157792 w 166132"/>
              <a:gd name="connsiteY23" fmla="*/ 68824 h 136109"/>
              <a:gd name="connsiteX24" fmla="*/ 152031 w 166132"/>
              <a:gd name="connsiteY24" fmla="*/ 59622 h 136109"/>
              <a:gd name="connsiteX25" fmla="*/ 162401 w 166132"/>
              <a:gd name="connsiteY25" fmla="*/ 50421 h 136109"/>
              <a:gd name="connsiteX26" fmla="*/ 161825 w 166132"/>
              <a:gd name="connsiteY26" fmla="*/ 35469 h 136109"/>
              <a:gd name="connsiteX27" fmla="*/ 158944 w 166132"/>
              <a:gd name="connsiteY27" fmla="*/ 22242 h 136109"/>
              <a:gd name="connsiteX28" fmla="*/ 145118 w 166132"/>
              <a:gd name="connsiteY28" fmla="*/ 12465 h 136109"/>
              <a:gd name="connsiteX29" fmla="*/ 144542 w 166132"/>
              <a:gd name="connsiteY29" fmla="*/ 11890 h 136109"/>
              <a:gd name="connsiteX30" fmla="*/ 99030 w 166132"/>
              <a:gd name="connsiteY30" fmla="*/ 10165 h 136109"/>
              <a:gd name="connsiteX31" fmla="*/ 90388 w 166132"/>
              <a:gd name="connsiteY31" fmla="*/ 6714 h 136109"/>
              <a:gd name="connsiteX32" fmla="*/ 80595 w 166132"/>
              <a:gd name="connsiteY32" fmla="*/ 11890 h 136109"/>
              <a:gd name="connsiteX33" fmla="*/ 72529 w 166132"/>
              <a:gd name="connsiteY33" fmla="*/ 963 h 136109"/>
              <a:gd name="connsiteX34" fmla="*/ 33930 w 166132"/>
              <a:gd name="connsiteY34" fmla="*/ 11890 h 136109"/>
              <a:gd name="connsiteX35" fmla="*/ 6854 w 166132"/>
              <a:gd name="connsiteY35" fmla="*/ 21091 h 136109"/>
              <a:gd name="connsiteX36" fmla="*/ 1668 w 166132"/>
              <a:gd name="connsiteY36" fmla="*/ 25117 h 136109"/>
              <a:gd name="connsiteX37" fmla="*/ 2244 w 166132"/>
              <a:gd name="connsiteY37" fmla="*/ 27993 h 13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132" h="136109">
                <a:moveTo>
                  <a:pt x="2244" y="27993"/>
                </a:moveTo>
                <a:cubicBezTo>
                  <a:pt x="3397" y="30868"/>
                  <a:pt x="4549" y="41795"/>
                  <a:pt x="1668" y="46395"/>
                </a:cubicBezTo>
                <a:cubicBezTo>
                  <a:pt x="-1212" y="50421"/>
                  <a:pt x="-60" y="51571"/>
                  <a:pt x="2821" y="53296"/>
                </a:cubicBezTo>
                <a:cubicBezTo>
                  <a:pt x="5701" y="55022"/>
                  <a:pt x="6854" y="58472"/>
                  <a:pt x="6854" y="61923"/>
                </a:cubicBezTo>
                <a:cubicBezTo>
                  <a:pt x="6854" y="64798"/>
                  <a:pt x="8582" y="64798"/>
                  <a:pt x="9158" y="71124"/>
                </a:cubicBezTo>
                <a:cubicBezTo>
                  <a:pt x="9734" y="77450"/>
                  <a:pt x="10886" y="82626"/>
                  <a:pt x="13191" y="84926"/>
                </a:cubicBezTo>
                <a:cubicBezTo>
                  <a:pt x="14919" y="87227"/>
                  <a:pt x="14919" y="90102"/>
                  <a:pt x="13767" y="92978"/>
                </a:cubicBezTo>
                <a:cubicBezTo>
                  <a:pt x="17223" y="95278"/>
                  <a:pt x="20680" y="97578"/>
                  <a:pt x="24137" y="98729"/>
                </a:cubicBezTo>
                <a:cubicBezTo>
                  <a:pt x="32202" y="101604"/>
                  <a:pt x="35082" y="103904"/>
                  <a:pt x="35659" y="106780"/>
                </a:cubicBezTo>
                <a:cubicBezTo>
                  <a:pt x="36235" y="109655"/>
                  <a:pt x="43148" y="114831"/>
                  <a:pt x="44876" y="110805"/>
                </a:cubicBezTo>
                <a:cubicBezTo>
                  <a:pt x="46604" y="106780"/>
                  <a:pt x="51213" y="109080"/>
                  <a:pt x="54670" y="109080"/>
                </a:cubicBezTo>
                <a:cubicBezTo>
                  <a:pt x="58126" y="109080"/>
                  <a:pt x="58703" y="113106"/>
                  <a:pt x="59279" y="115406"/>
                </a:cubicBezTo>
                <a:cubicBezTo>
                  <a:pt x="59855" y="117707"/>
                  <a:pt x="67920" y="116556"/>
                  <a:pt x="70801" y="118282"/>
                </a:cubicBezTo>
                <a:cubicBezTo>
                  <a:pt x="73681" y="120007"/>
                  <a:pt x="74834" y="126333"/>
                  <a:pt x="78866" y="128633"/>
                </a:cubicBezTo>
                <a:cubicBezTo>
                  <a:pt x="82899" y="130934"/>
                  <a:pt x="86356" y="125758"/>
                  <a:pt x="89236" y="127483"/>
                </a:cubicBezTo>
                <a:cubicBezTo>
                  <a:pt x="92117" y="129208"/>
                  <a:pt x="99606" y="130934"/>
                  <a:pt x="104215" y="129208"/>
                </a:cubicBezTo>
                <a:cubicBezTo>
                  <a:pt x="108823" y="127483"/>
                  <a:pt x="111704" y="130934"/>
                  <a:pt x="117465" y="130359"/>
                </a:cubicBezTo>
                <a:cubicBezTo>
                  <a:pt x="123226" y="129783"/>
                  <a:pt x="130716" y="132084"/>
                  <a:pt x="132444" y="133809"/>
                </a:cubicBezTo>
                <a:cubicBezTo>
                  <a:pt x="133596" y="134959"/>
                  <a:pt x="138205" y="135534"/>
                  <a:pt x="142814" y="136110"/>
                </a:cubicBezTo>
                <a:cubicBezTo>
                  <a:pt x="143966" y="133809"/>
                  <a:pt x="141661" y="126333"/>
                  <a:pt x="142238" y="124608"/>
                </a:cubicBezTo>
                <a:cubicBezTo>
                  <a:pt x="142814" y="122882"/>
                  <a:pt x="156064" y="110805"/>
                  <a:pt x="158369" y="107930"/>
                </a:cubicBezTo>
                <a:cubicBezTo>
                  <a:pt x="160673" y="105055"/>
                  <a:pt x="164130" y="105055"/>
                  <a:pt x="165858" y="101604"/>
                </a:cubicBezTo>
                <a:cubicBezTo>
                  <a:pt x="167586" y="98154"/>
                  <a:pt x="160673" y="86652"/>
                  <a:pt x="158944" y="84351"/>
                </a:cubicBezTo>
                <a:cubicBezTo>
                  <a:pt x="157216" y="82051"/>
                  <a:pt x="156640" y="72850"/>
                  <a:pt x="157792" y="68824"/>
                </a:cubicBezTo>
                <a:cubicBezTo>
                  <a:pt x="158944" y="64798"/>
                  <a:pt x="152031" y="62498"/>
                  <a:pt x="152031" y="59622"/>
                </a:cubicBezTo>
                <a:cubicBezTo>
                  <a:pt x="152031" y="56747"/>
                  <a:pt x="158369" y="52146"/>
                  <a:pt x="162401" y="50421"/>
                </a:cubicBezTo>
                <a:cubicBezTo>
                  <a:pt x="165858" y="48696"/>
                  <a:pt x="164706" y="37769"/>
                  <a:pt x="161825" y="35469"/>
                </a:cubicBezTo>
                <a:cubicBezTo>
                  <a:pt x="158944" y="32593"/>
                  <a:pt x="157216" y="27993"/>
                  <a:pt x="158944" y="22242"/>
                </a:cubicBezTo>
                <a:cubicBezTo>
                  <a:pt x="160673" y="17066"/>
                  <a:pt x="147422" y="12465"/>
                  <a:pt x="145118" y="12465"/>
                </a:cubicBezTo>
                <a:cubicBezTo>
                  <a:pt x="144542" y="12465"/>
                  <a:pt x="144542" y="11890"/>
                  <a:pt x="144542" y="11890"/>
                </a:cubicBezTo>
                <a:cubicBezTo>
                  <a:pt x="132444" y="14190"/>
                  <a:pt x="101334" y="10740"/>
                  <a:pt x="99030" y="10165"/>
                </a:cubicBezTo>
                <a:cubicBezTo>
                  <a:pt x="97301" y="9590"/>
                  <a:pt x="93269" y="7864"/>
                  <a:pt x="90388" y="6714"/>
                </a:cubicBezTo>
                <a:cubicBezTo>
                  <a:pt x="88660" y="9015"/>
                  <a:pt x="85779" y="11890"/>
                  <a:pt x="80595" y="11890"/>
                </a:cubicBezTo>
                <a:cubicBezTo>
                  <a:pt x="73105" y="11890"/>
                  <a:pt x="72529" y="4414"/>
                  <a:pt x="72529" y="963"/>
                </a:cubicBezTo>
                <a:cubicBezTo>
                  <a:pt x="72529" y="-2487"/>
                  <a:pt x="41996" y="3839"/>
                  <a:pt x="33930" y="11890"/>
                </a:cubicBezTo>
                <a:cubicBezTo>
                  <a:pt x="25865" y="19941"/>
                  <a:pt x="7430" y="17066"/>
                  <a:pt x="6854" y="21091"/>
                </a:cubicBezTo>
                <a:cubicBezTo>
                  <a:pt x="6277" y="24542"/>
                  <a:pt x="3397" y="25692"/>
                  <a:pt x="1668" y="25117"/>
                </a:cubicBezTo>
                <a:cubicBezTo>
                  <a:pt x="2244" y="26267"/>
                  <a:pt x="2244" y="27417"/>
                  <a:pt x="2244" y="27993"/>
                </a:cubicBezTo>
                <a:close/>
              </a:path>
            </a:pathLst>
          </a:custGeom>
          <a:solidFill>
            <a:schemeClr val="tx2"/>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7" name="Freeform 286">
            <a:extLst>
              <a:ext uri="{FF2B5EF4-FFF2-40B4-BE49-F238E27FC236}">
                <a16:creationId xmlns:a16="http://schemas.microsoft.com/office/drawing/2014/main" id="{2B00F9A4-CDA8-E992-82E7-E11FAE7C6281}"/>
              </a:ext>
            </a:extLst>
          </p:cNvPr>
          <p:cNvSpPr/>
          <p:nvPr/>
        </p:nvSpPr>
        <p:spPr>
          <a:xfrm>
            <a:off x="10348507" y="3849547"/>
            <a:ext cx="510406" cy="492472"/>
          </a:xfrm>
          <a:custGeom>
            <a:avLst/>
            <a:gdLst>
              <a:gd name="connsiteX0" fmla="*/ 45676 w 61682"/>
              <a:gd name="connsiteY0" fmla="*/ 54339 h 59515"/>
              <a:gd name="connsiteX1" fmla="*/ 58926 w 61682"/>
              <a:gd name="connsiteY1" fmla="*/ 34786 h 59515"/>
              <a:gd name="connsiteX2" fmla="*/ 61231 w 61682"/>
              <a:gd name="connsiteY2" fmla="*/ 11208 h 59515"/>
              <a:gd name="connsiteX3" fmla="*/ 45676 w 61682"/>
              <a:gd name="connsiteY3" fmla="*/ 3156 h 59515"/>
              <a:gd name="connsiteX4" fmla="*/ 18599 w 61682"/>
              <a:gd name="connsiteY4" fmla="*/ 281 h 59515"/>
              <a:gd name="connsiteX5" fmla="*/ 7653 w 61682"/>
              <a:gd name="connsiteY5" fmla="*/ 2581 h 59515"/>
              <a:gd name="connsiteX6" fmla="*/ 164 w 61682"/>
              <a:gd name="connsiteY6" fmla="*/ 7182 h 59515"/>
              <a:gd name="connsiteX7" fmla="*/ 8229 w 61682"/>
              <a:gd name="connsiteY7" fmla="*/ 19259 h 59515"/>
              <a:gd name="connsiteX8" fmla="*/ 22632 w 61682"/>
              <a:gd name="connsiteY8" fmla="*/ 36512 h 59515"/>
              <a:gd name="connsiteX9" fmla="*/ 37034 w 61682"/>
              <a:gd name="connsiteY9" fmla="*/ 52614 h 59515"/>
              <a:gd name="connsiteX10" fmla="*/ 46252 w 61682"/>
              <a:gd name="connsiteY10" fmla="*/ 59515 h 59515"/>
              <a:gd name="connsiteX11" fmla="*/ 45676 w 61682"/>
              <a:gd name="connsiteY11" fmla="*/ 54339 h 5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82" h="59515">
                <a:moveTo>
                  <a:pt x="45676" y="54339"/>
                </a:moveTo>
                <a:cubicBezTo>
                  <a:pt x="45100" y="50889"/>
                  <a:pt x="56046" y="34786"/>
                  <a:pt x="58926" y="34786"/>
                </a:cubicBezTo>
                <a:cubicBezTo>
                  <a:pt x="61231" y="34786"/>
                  <a:pt x="62383" y="19259"/>
                  <a:pt x="61231" y="11208"/>
                </a:cubicBezTo>
                <a:cubicBezTo>
                  <a:pt x="52589" y="5457"/>
                  <a:pt x="45676" y="3156"/>
                  <a:pt x="45676" y="3156"/>
                </a:cubicBezTo>
                <a:cubicBezTo>
                  <a:pt x="45676" y="3156"/>
                  <a:pt x="22632" y="2006"/>
                  <a:pt x="18599" y="281"/>
                </a:cubicBezTo>
                <a:cubicBezTo>
                  <a:pt x="14566" y="-1444"/>
                  <a:pt x="11110" y="5457"/>
                  <a:pt x="7653" y="2581"/>
                </a:cubicBezTo>
                <a:cubicBezTo>
                  <a:pt x="4196" y="-294"/>
                  <a:pt x="-988" y="3156"/>
                  <a:pt x="164" y="7182"/>
                </a:cubicBezTo>
                <a:cubicBezTo>
                  <a:pt x="740" y="11208"/>
                  <a:pt x="8229" y="13508"/>
                  <a:pt x="8229" y="19259"/>
                </a:cubicBezTo>
                <a:cubicBezTo>
                  <a:pt x="8229" y="25010"/>
                  <a:pt x="23208" y="33636"/>
                  <a:pt x="22632" y="36512"/>
                </a:cubicBezTo>
                <a:cubicBezTo>
                  <a:pt x="22632" y="38812"/>
                  <a:pt x="31273" y="44563"/>
                  <a:pt x="37034" y="52614"/>
                </a:cubicBezTo>
                <a:cubicBezTo>
                  <a:pt x="39915" y="54339"/>
                  <a:pt x="42795" y="56640"/>
                  <a:pt x="46252" y="59515"/>
                </a:cubicBezTo>
                <a:cubicBezTo>
                  <a:pt x="45676" y="57215"/>
                  <a:pt x="46252" y="54915"/>
                  <a:pt x="45676" y="54339"/>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8" name="Freeform 287">
            <a:extLst>
              <a:ext uri="{FF2B5EF4-FFF2-40B4-BE49-F238E27FC236}">
                <a16:creationId xmlns:a16="http://schemas.microsoft.com/office/drawing/2014/main" id="{A64B8A4E-8574-809C-B06D-866DF182DACD}"/>
              </a:ext>
            </a:extLst>
          </p:cNvPr>
          <p:cNvSpPr/>
          <p:nvPr/>
        </p:nvSpPr>
        <p:spPr>
          <a:xfrm>
            <a:off x="10078138" y="3613932"/>
            <a:ext cx="772269" cy="670976"/>
          </a:xfrm>
          <a:custGeom>
            <a:avLst/>
            <a:gdLst>
              <a:gd name="connsiteX0" fmla="*/ 54730 w 93328"/>
              <a:gd name="connsiteY0" fmla="*/ 65560 h 81087"/>
              <a:gd name="connsiteX1" fmla="*/ 40327 w 93328"/>
              <a:gd name="connsiteY1" fmla="*/ 48308 h 81087"/>
              <a:gd name="connsiteX2" fmla="*/ 32262 w 93328"/>
              <a:gd name="connsiteY2" fmla="*/ 36231 h 81087"/>
              <a:gd name="connsiteX3" fmla="*/ 39751 w 93328"/>
              <a:gd name="connsiteY3" fmla="*/ 31630 h 81087"/>
              <a:gd name="connsiteX4" fmla="*/ 50697 w 93328"/>
              <a:gd name="connsiteY4" fmla="*/ 29330 h 81087"/>
              <a:gd name="connsiteX5" fmla="*/ 77774 w 93328"/>
              <a:gd name="connsiteY5" fmla="*/ 32205 h 81087"/>
              <a:gd name="connsiteX6" fmla="*/ 93328 w 93328"/>
              <a:gd name="connsiteY6" fmla="*/ 40256 h 81087"/>
              <a:gd name="connsiteX7" fmla="*/ 92752 w 93328"/>
              <a:gd name="connsiteY7" fmla="*/ 36231 h 81087"/>
              <a:gd name="connsiteX8" fmla="*/ 86991 w 93328"/>
              <a:gd name="connsiteY8" fmla="*/ 23579 h 81087"/>
              <a:gd name="connsiteX9" fmla="*/ 82383 w 93328"/>
              <a:gd name="connsiteY9" fmla="*/ 13227 h 81087"/>
              <a:gd name="connsiteX10" fmla="*/ 76045 w 93328"/>
              <a:gd name="connsiteY10" fmla="*/ 14952 h 81087"/>
              <a:gd name="connsiteX11" fmla="*/ 58186 w 93328"/>
              <a:gd name="connsiteY11" fmla="*/ 10927 h 81087"/>
              <a:gd name="connsiteX12" fmla="*/ 43784 w 93328"/>
              <a:gd name="connsiteY12" fmla="*/ 0 h 81087"/>
              <a:gd name="connsiteX13" fmla="*/ 33414 w 93328"/>
              <a:gd name="connsiteY13" fmla="*/ 6901 h 81087"/>
              <a:gd name="connsiteX14" fmla="*/ 29381 w 93328"/>
              <a:gd name="connsiteY14" fmla="*/ 15527 h 81087"/>
              <a:gd name="connsiteX15" fmla="*/ 23044 w 93328"/>
              <a:gd name="connsiteY15" fmla="*/ 23004 h 81087"/>
              <a:gd name="connsiteX16" fmla="*/ 12098 w 93328"/>
              <a:gd name="connsiteY16" fmla="*/ 22428 h 81087"/>
              <a:gd name="connsiteX17" fmla="*/ 0 w 93328"/>
              <a:gd name="connsiteY17" fmla="*/ 24729 h 81087"/>
              <a:gd name="connsiteX18" fmla="*/ 2881 w 93328"/>
              <a:gd name="connsiteY18" fmla="*/ 32205 h 81087"/>
              <a:gd name="connsiteX19" fmla="*/ 16131 w 93328"/>
              <a:gd name="connsiteY19" fmla="*/ 37956 h 81087"/>
              <a:gd name="connsiteX20" fmla="*/ 31686 w 93328"/>
              <a:gd name="connsiteY20" fmla="*/ 62685 h 81087"/>
              <a:gd name="connsiteX21" fmla="*/ 45512 w 93328"/>
              <a:gd name="connsiteY21" fmla="*/ 70161 h 81087"/>
              <a:gd name="connsiteX22" fmla="*/ 60491 w 93328"/>
              <a:gd name="connsiteY22" fmla="*/ 78212 h 81087"/>
              <a:gd name="connsiteX23" fmla="*/ 67980 w 93328"/>
              <a:gd name="connsiteY23" fmla="*/ 81088 h 81087"/>
              <a:gd name="connsiteX24" fmla="*/ 54730 w 93328"/>
              <a:gd name="connsiteY24" fmla="*/ 65560 h 8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328" h="81087">
                <a:moveTo>
                  <a:pt x="54730" y="65560"/>
                </a:moveTo>
                <a:cubicBezTo>
                  <a:pt x="55306" y="62685"/>
                  <a:pt x="40327" y="54058"/>
                  <a:pt x="40327" y="48308"/>
                </a:cubicBezTo>
                <a:cubicBezTo>
                  <a:pt x="40327" y="42557"/>
                  <a:pt x="32838" y="40256"/>
                  <a:pt x="32262" y="36231"/>
                </a:cubicBezTo>
                <a:cubicBezTo>
                  <a:pt x="31686" y="32205"/>
                  <a:pt x="36294" y="28755"/>
                  <a:pt x="39751" y="31630"/>
                </a:cubicBezTo>
                <a:cubicBezTo>
                  <a:pt x="43208" y="34505"/>
                  <a:pt x="47240" y="27604"/>
                  <a:pt x="50697" y="29330"/>
                </a:cubicBezTo>
                <a:cubicBezTo>
                  <a:pt x="54730" y="31055"/>
                  <a:pt x="77774" y="32205"/>
                  <a:pt x="77774" y="32205"/>
                </a:cubicBezTo>
                <a:cubicBezTo>
                  <a:pt x="77774" y="32205"/>
                  <a:pt x="84687" y="34505"/>
                  <a:pt x="93328" y="40256"/>
                </a:cubicBezTo>
                <a:cubicBezTo>
                  <a:pt x="93328" y="38531"/>
                  <a:pt x="92752" y="37381"/>
                  <a:pt x="92752" y="36231"/>
                </a:cubicBezTo>
                <a:cubicBezTo>
                  <a:pt x="90448" y="31630"/>
                  <a:pt x="92752" y="25879"/>
                  <a:pt x="86991" y="23579"/>
                </a:cubicBezTo>
                <a:cubicBezTo>
                  <a:pt x="84111" y="22428"/>
                  <a:pt x="82959" y="17828"/>
                  <a:pt x="82383" y="13227"/>
                </a:cubicBezTo>
                <a:cubicBezTo>
                  <a:pt x="79502" y="13802"/>
                  <a:pt x="77774" y="14952"/>
                  <a:pt x="76045" y="14952"/>
                </a:cubicBezTo>
                <a:cubicBezTo>
                  <a:pt x="71437" y="16103"/>
                  <a:pt x="61643" y="15527"/>
                  <a:pt x="58186" y="10927"/>
                </a:cubicBezTo>
                <a:cubicBezTo>
                  <a:pt x="55882" y="7476"/>
                  <a:pt x="47816" y="2300"/>
                  <a:pt x="43784" y="0"/>
                </a:cubicBezTo>
                <a:cubicBezTo>
                  <a:pt x="42055" y="1150"/>
                  <a:pt x="35718" y="6901"/>
                  <a:pt x="33414" y="6901"/>
                </a:cubicBezTo>
                <a:cubicBezTo>
                  <a:pt x="30533" y="7476"/>
                  <a:pt x="32262" y="15527"/>
                  <a:pt x="29381" y="15527"/>
                </a:cubicBezTo>
                <a:cubicBezTo>
                  <a:pt x="26501" y="15527"/>
                  <a:pt x="24196" y="20703"/>
                  <a:pt x="23044" y="23004"/>
                </a:cubicBezTo>
                <a:cubicBezTo>
                  <a:pt x="22468" y="25304"/>
                  <a:pt x="15554" y="21278"/>
                  <a:pt x="12098" y="22428"/>
                </a:cubicBezTo>
                <a:cubicBezTo>
                  <a:pt x="9793" y="23004"/>
                  <a:pt x="3456" y="24154"/>
                  <a:pt x="0" y="24729"/>
                </a:cubicBezTo>
                <a:cubicBezTo>
                  <a:pt x="576" y="28179"/>
                  <a:pt x="576" y="32205"/>
                  <a:pt x="2881" y="32205"/>
                </a:cubicBezTo>
                <a:cubicBezTo>
                  <a:pt x="7489" y="32205"/>
                  <a:pt x="16131" y="31630"/>
                  <a:pt x="16131" y="37956"/>
                </a:cubicBezTo>
                <a:cubicBezTo>
                  <a:pt x="16131" y="44282"/>
                  <a:pt x="27653" y="58084"/>
                  <a:pt x="31686" y="62685"/>
                </a:cubicBezTo>
                <a:cubicBezTo>
                  <a:pt x="35718" y="67286"/>
                  <a:pt x="44936" y="66135"/>
                  <a:pt x="45512" y="70161"/>
                </a:cubicBezTo>
                <a:cubicBezTo>
                  <a:pt x="46088" y="74187"/>
                  <a:pt x="53001" y="77637"/>
                  <a:pt x="60491" y="78212"/>
                </a:cubicBezTo>
                <a:cubicBezTo>
                  <a:pt x="62795" y="78212"/>
                  <a:pt x="65100" y="79362"/>
                  <a:pt x="67980" y="81088"/>
                </a:cubicBezTo>
                <a:cubicBezTo>
                  <a:pt x="63371" y="73612"/>
                  <a:pt x="54153" y="67861"/>
                  <a:pt x="54730" y="6556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79" name="Freeform 288">
            <a:extLst>
              <a:ext uri="{FF2B5EF4-FFF2-40B4-BE49-F238E27FC236}">
                <a16:creationId xmlns:a16="http://schemas.microsoft.com/office/drawing/2014/main" id="{329C58FF-6714-A305-6CAA-F236D8913676}"/>
              </a:ext>
            </a:extLst>
          </p:cNvPr>
          <p:cNvSpPr/>
          <p:nvPr/>
        </p:nvSpPr>
        <p:spPr>
          <a:xfrm>
            <a:off x="10831347" y="4313463"/>
            <a:ext cx="266957" cy="532976"/>
          </a:xfrm>
          <a:custGeom>
            <a:avLst/>
            <a:gdLst>
              <a:gd name="connsiteX0" fmla="*/ 21316 w 32261"/>
              <a:gd name="connsiteY0" fmla="*/ 55209 h 64410"/>
              <a:gd name="connsiteX1" fmla="*/ 25348 w 32261"/>
              <a:gd name="connsiteY1" fmla="*/ 48883 h 64410"/>
              <a:gd name="connsiteX2" fmla="*/ 31686 w 32261"/>
              <a:gd name="connsiteY2" fmla="*/ 38531 h 64410"/>
              <a:gd name="connsiteX3" fmla="*/ 32262 w 32261"/>
              <a:gd name="connsiteY3" fmla="*/ 37956 h 64410"/>
              <a:gd name="connsiteX4" fmla="*/ 21892 w 32261"/>
              <a:gd name="connsiteY4" fmla="*/ 27029 h 64410"/>
              <a:gd name="connsiteX5" fmla="*/ 23620 w 32261"/>
              <a:gd name="connsiteY5" fmla="*/ 8626 h 64410"/>
              <a:gd name="connsiteX6" fmla="*/ 8642 w 32261"/>
              <a:gd name="connsiteY6" fmla="*/ 0 h 64410"/>
              <a:gd name="connsiteX7" fmla="*/ 0 w 32261"/>
              <a:gd name="connsiteY7" fmla="*/ 12652 h 64410"/>
              <a:gd name="connsiteX8" fmla="*/ 4609 w 32261"/>
              <a:gd name="connsiteY8" fmla="*/ 23579 h 64410"/>
              <a:gd name="connsiteX9" fmla="*/ 4033 w 32261"/>
              <a:gd name="connsiteY9" fmla="*/ 49458 h 64410"/>
              <a:gd name="connsiteX10" fmla="*/ 15555 w 32261"/>
              <a:gd name="connsiteY10" fmla="*/ 64410 h 64410"/>
              <a:gd name="connsiteX11" fmla="*/ 21316 w 32261"/>
              <a:gd name="connsiteY11" fmla="*/ 55209 h 6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61" h="64410">
                <a:moveTo>
                  <a:pt x="21316" y="55209"/>
                </a:moveTo>
                <a:cubicBezTo>
                  <a:pt x="25348" y="54634"/>
                  <a:pt x="23044" y="51183"/>
                  <a:pt x="25348" y="48883"/>
                </a:cubicBezTo>
                <a:cubicBezTo>
                  <a:pt x="28229" y="46007"/>
                  <a:pt x="31109" y="40831"/>
                  <a:pt x="31686" y="38531"/>
                </a:cubicBezTo>
                <a:cubicBezTo>
                  <a:pt x="31686" y="38531"/>
                  <a:pt x="31686" y="37956"/>
                  <a:pt x="32262" y="37956"/>
                </a:cubicBezTo>
                <a:cubicBezTo>
                  <a:pt x="27077" y="33930"/>
                  <a:pt x="23044" y="31055"/>
                  <a:pt x="21892" y="27029"/>
                </a:cubicBezTo>
                <a:cubicBezTo>
                  <a:pt x="20740" y="23004"/>
                  <a:pt x="21892" y="14952"/>
                  <a:pt x="23620" y="8626"/>
                </a:cubicBezTo>
                <a:cubicBezTo>
                  <a:pt x="20740" y="6326"/>
                  <a:pt x="11522" y="0"/>
                  <a:pt x="8642" y="0"/>
                </a:cubicBezTo>
                <a:cubicBezTo>
                  <a:pt x="5761" y="0"/>
                  <a:pt x="1152" y="6326"/>
                  <a:pt x="0" y="12652"/>
                </a:cubicBezTo>
                <a:cubicBezTo>
                  <a:pt x="6913" y="16103"/>
                  <a:pt x="9218" y="18978"/>
                  <a:pt x="4609" y="23579"/>
                </a:cubicBezTo>
                <a:cubicBezTo>
                  <a:pt x="-576" y="28755"/>
                  <a:pt x="-1152" y="44857"/>
                  <a:pt x="4033" y="49458"/>
                </a:cubicBezTo>
                <a:cubicBezTo>
                  <a:pt x="9218" y="53483"/>
                  <a:pt x="10946" y="62110"/>
                  <a:pt x="15555" y="64410"/>
                </a:cubicBezTo>
                <a:cubicBezTo>
                  <a:pt x="17283" y="60960"/>
                  <a:pt x="18435" y="55784"/>
                  <a:pt x="21316" y="55209"/>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0" name="Freeform 289">
            <a:extLst>
              <a:ext uri="{FF2B5EF4-FFF2-40B4-BE49-F238E27FC236}">
                <a16:creationId xmlns:a16="http://schemas.microsoft.com/office/drawing/2014/main" id="{7304B4F5-143A-C3C9-C751-B5B53A24C6A1}"/>
              </a:ext>
            </a:extLst>
          </p:cNvPr>
          <p:cNvSpPr/>
          <p:nvPr/>
        </p:nvSpPr>
        <p:spPr>
          <a:xfrm>
            <a:off x="9497740" y="3147572"/>
            <a:ext cx="1071411" cy="485388"/>
          </a:xfrm>
          <a:custGeom>
            <a:avLst/>
            <a:gdLst>
              <a:gd name="connsiteX0" fmla="*/ 108163 w 129479"/>
              <a:gd name="connsiteY0" fmla="*/ 5176 h 58659"/>
              <a:gd name="connsiteX1" fmla="*/ 92033 w 129479"/>
              <a:gd name="connsiteY1" fmla="*/ 0 h 58659"/>
              <a:gd name="connsiteX2" fmla="*/ 89152 w 129479"/>
              <a:gd name="connsiteY2" fmla="*/ 8051 h 58659"/>
              <a:gd name="connsiteX3" fmla="*/ 74173 w 129479"/>
              <a:gd name="connsiteY3" fmla="*/ 9201 h 58659"/>
              <a:gd name="connsiteX4" fmla="*/ 64956 w 129479"/>
              <a:gd name="connsiteY4" fmla="*/ 15527 h 58659"/>
              <a:gd name="connsiteX5" fmla="*/ 58042 w 129479"/>
              <a:gd name="connsiteY5" fmla="*/ 26454 h 58659"/>
              <a:gd name="connsiteX6" fmla="*/ 51129 w 129479"/>
              <a:gd name="connsiteY6" fmla="*/ 31630 h 58659"/>
              <a:gd name="connsiteX7" fmla="*/ 33270 w 129479"/>
              <a:gd name="connsiteY7" fmla="*/ 35081 h 58659"/>
              <a:gd name="connsiteX8" fmla="*/ 22900 w 129479"/>
              <a:gd name="connsiteY8" fmla="*/ 35656 h 58659"/>
              <a:gd name="connsiteX9" fmla="*/ 12530 w 129479"/>
              <a:gd name="connsiteY9" fmla="*/ 37381 h 58659"/>
              <a:gd name="connsiteX10" fmla="*/ 2160 w 129479"/>
              <a:gd name="connsiteY10" fmla="*/ 34505 h 58659"/>
              <a:gd name="connsiteX11" fmla="*/ 432 w 129479"/>
              <a:gd name="connsiteY11" fmla="*/ 43707 h 58659"/>
              <a:gd name="connsiteX12" fmla="*/ 9650 w 129479"/>
              <a:gd name="connsiteY12" fmla="*/ 48308 h 58659"/>
              <a:gd name="connsiteX13" fmla="*/ 20596 w 129479"/>
              <a:gd name="connsiteY13" fmla="*/ 50608 h 58659"/>
              <a:gd name="connsiteX14" fmla="*/ 31542 w 129479"/>
              <a:gd name="connsiteY14" fmla="*/ 47157 h 58659"/>
              <a:gd name="connsiteX15" fmla="*/ 45368 w 129479"/>
              <a:gd name="connsiteY15" fmla="*/ 45432 h 58659"/>
              <a:gd name="connsiteX16" fmla="*/ 48825 w 129479"/>
              <a:gd name="connsiteY16" fmla="*/ 52908 h 58659"/>
              <a:gd name="connsiteX17" fmla="*/ 64956 w 129479"/>
              <a:gd name="connsiteY17" fmla="*/ 55209 h 58659"/>
              <a:gd name="connsiteX18" fmla="*/ 84543 w 129479"/>
              <a:gd name="connsiteY18" fmla="*/ 58659 h 58659"/>
              <a:gd name="connsiteX19" fmla="*/ 99522 w 129479"/>
              <a:gd name="connsiteY19" fmla="*/ 53483 h 58659"/>
              <a:gd name="connsiteX20" fmla="*/ 111620 w 129479"/>
              <a:gd name="connsiteY20" fmla="*/ 49458 h 58659"/>
              <a:gd name="connsiteX21" fmla="*/ 111620 w 129479"/>
              <a:gd name="connsiteY21" fmla="*/ 49458 h 58659"/>
              <a:gd name="connsiteX22" fmla="*/ 114500 w 129479"/>
              <a:gd name="connsiteY22" fmla="*/ 45432 h 58659"/>
              <a:gd name="connsiteX23" fmla="*/ 117381 w 129479"/>
              <a:gd name="connsiteY23" fmla="*/ 37956 h 58659"/>
              <a:gd name="connsiteX24" fmla="*/ 119685 w 129479"/>
              <a:gd name="connsiteY24" fmla="*/ 31055 h 58659"/>
              <a:gd name="connsiteX25" fmla="*/ 127175 w 129479"/>
              <a:gd name="connsiteY25" fmla="*/ 26454 h 58659"/>
              <a:gd name="connsiteX26" fmla="*/ 129479 w 129479"/>
              <a:gd name="connsiteY26" fmla="*/ 21853 h 58659"/>
              <a:gd name="connsiteX27" fmla="*/ 122566 w 129479"/>
              <a:gd name="connsiteY27" fmla="*/ 7476 h 58659"/>
              <a:gd name="connsiteX28" fmla="*/ 108163 w 129479"/>
              <a:gd name="connsiteY28" fmla="*/ 5176 h 5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9479" h="58659">
                <a:moveTo>
                  <a:pt x="108163" y="5176"/>
                </a:moveTo>
                <a:cubicBezTo>
                  <a:pt x="103555" y="0"/>
                  <a:pt x="92033" y="0"/>
                  <a:pt x="92033" y="0"/>
                </a:cubicBezTo>
                <a:cubicBezTo>
                  <a:pt x="92033" y="0"/>
                  <a:pt x="90880" y="5176"/>
                  <a:pt x="89152" y="8051"/>
                </a:cubicBezTo>
                <a:cubicBezTo>
                  <a:pt x="87424" y="10352"/>
                  <a:pt x="79358" y="10352"/>
                  <a:pt x="74173" y="9201"/>
                </a:cubicBezTo>
                <a:cubicBezTo>
                  <a:pt x="72445" y="10927"/>
                  <a:pt x="65532" y="12652"/>
                  <a:pt x="64956" y="15527"/>
                </a:cubicBezTo>
                <a:cubicBezTo>
                  <a:pt x="63803" y="18978"/>
                  <a:pt x="55162" y="17253"/>
                  <a:pt x="58042" y="26454"/>
                </a:cubicBezTo>
                <a:cubicBezTo>
                  <a:pt x="60923" y="35656"/>
                  <a:pt x="54010" y="32780"/>
                  <a:pt x="51129" y="31630"/>
                </a:cubicBezTo>
                <a:cubicBezTo>
                  <a:pt x="48249" y="30480"/>
                  <a:pt x="36150" y="32205"/>
                  <a:pt x="33270" y="35081"/>
                </a:cubicBezTo>
                <a:cubicBezTo>
                  <a:pt x="30389" y="37956"/>
                  <a:pt x="25781" y="37381"/>
                  <a:pt x="22900" y="35656"/>
                </a:cubicBezTo>
                <a:cubicBezTo>
                  <a:pt x="20020" y="33930"/>
                  <a:pt x="14835" y="33355"/>
                  <a:pt x="12530" y="37381"/>
                </a:cubicBezTo>
                <a:cubicBezTo>
                  <a:pt x="10226" y="41406"/>
                  <a:pt x="6193" y="34505"/>
                  <a:pt x="2160" y="34505"/>
                </a:cubicBezTo>
                <a:cubicBezTo>
                  <a:pt x="-1296" y="35081"/>
                  <a:pt x="432" y="41982"/>
                  <a:pt x="432" y="43707"/>
                </a:cubicBezTo>
                <a:cubicBezTo>
                  <a:pt x="432" y="45432"/>
                  <a:pt x="5617" y="50033"/>
                  <a:pt x="9650" y="48308"/>
                </a:cubicBezTo>
                <a:cubicBezTo>
                  <a:pt x="13106" y="46582"/>
                  <a:pt x="17715" y="48883"/>
                  <a:pt x="20596" y="50608"/>
                </a:cubicBezTo>
                <a:cubicBezTo>
                  <a:pt x="23476" y="52333"/>
                  <a:pt x="29814" y="48883"/>
                  <a:pt x="31542" y="47157"/>
                </a:cubicBezTo>
                <a:cubicBezTo>
                  <a:pt x="33270" y="45432"/>
                  <a:pt x="44216" y="45432"/>
                  <a:pt x="45368" y="45432"/>
                </a:cubicBezTo>
                <a:cubicBezTo>
                  <a:pt x="46520" y="45432"/>
                  <a:pt x="47097" y="51758"/>
                  <a:pt x="48825" y="52908"/>
                </a:cubicBezTo>
                <a:cubicBezTo>
                  <a:pt x="50553" y="54059"/>
                  <a:pt x="58042" y="54634"/>
                  <a:pt x="64956" y="55209"/>
                </a:cubicBezTo>
                <a:cubicBezTo>
                  <a:pt x="71293" y="55784"/>
                  <a:pt x="81086" y="58659"/>
                  <a:pt x="84543" y="58659"/>
                </a:cubicBezTo>
                <a:cubicBezTo>
                  <a:pt x="87424" y="58659"/>
                  <a:pt x="92608" y="53483"/>
                  <a:pt x="99522" y="53483"/>
                </a:cubicBezTo>
                <a:cubicBezTo>
                  <a:pt x="106435" y="53483"/>
                  <a:pt x="110468" y="49458"/>
                  <a:pt x="111620" y="49458"/>
                </a:cubicBezTo>
                <a:cubicBezTo>
                  <a:pt x="111620" y="49458"/>
                  <a:pt x="111620" y="49458"/>
                  <a:pt x="111620" y="49458"/>
                </a:cubicBezTo>
                <a:cubicBezTo>
                  <a:pt x="112196" y="47157"/>
                  <a:pt x="112772" y="45432"/>
                  <a:pt x="114500" y="45432"/>
                </a:cubicBezTo>
                <a:cubicBezTo>
                  <a:pt x="117381" y="44857"/>
                  <a:pt x="115077" y="40256"/>
                  <a:pt x="117381" y="37956"/>
                </a:cubicBezTo>
                <a:cubicBezTo>
                  <a:pt x="119685" y="35656"/>
                  <a:pt x="115653" y="30480"/>
                  <a:pt x="119685" y="31055"/>
                </a:cubicBezTo>
                <a:cubicBezTo>
                  <a:pt x="123142" y="31630"/>
                  <a:pt x="127175" y="31630"/>
                  <a:pt x="127175" y="26454"/>
                </a:cubicBezTo>
                <a:cubicBezTo>
                  <a:pt x="127175" y="24729"/>
                  <a:pt x="128327" y="23004"/>
                  <a:pt x="129479" y="21853"/>
                </a:cubicBezTo>
                <a:cubicBezTo>
                  <a:pt x="125446" y="16103"/>
                  <a:pt x="122566" y="7476"/>
                  <a:pt x="122566" y="7476"/>
                </a:cubicBezTo>
                <a:cubicBezTo>
                  <a:pt x="122566" y="7476"/>
                  <a:pt x="112772" y="10352"/>
                  <a:pt x="108163" y="517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1" name="Freeform 290">
            <a:extLst>
              <a:ext uri="{FF2B5EF4-FFF2-40B4-BE49-F238E27FC236}">
                <a16:creationId xmlns:a16="http://schemas.microsoft.com/office/drawing/2014/main" id="{B1C03A2E-A566-84EA-6984-A121A7BB06CD}"/>
              </a:ext>
            </a:extLst>
          </p:cNvPr>
          <p:cNvSpPr/>
          <p:nvPr/>
        </p:nvSpPr>
        <p:spPr>
          <a:xfrm>
            <a:off x="10416603" y="3214012"/>
            <a:ext cx="934063" cy="523100"/>
          </a:xfrm>
          <a:custGeom>
            <a:avLst/>
            <a:gdLst>
              <a:gd name="connsiteX0" fmla="*/ 109460 w 112881"/>
              <a:gd name="connsiteY0" fmla="*/ 11524 h 63216"/>
              <a:gd name="connsiteX1" fmla="*/ 105427 w 112881"/>
              <a:gd name="connsiteY1" fmla="*/ 9223 h 63216"/>
              <a:gd name="connsiteX2" fmla="*/ 94481 w 112881"/>
              <a:gd name="connsiteY2" fmla="*/ 5198 h 63216"/>
              <a:gd name="connsiteX3" fmla="*/ 78350 w 112881"/>
              <a:gd name="connsiteY3" fmla="*/ 22 h 63216"/>
              <a:gd name="connsiteX4" fmla="*/ 62219 w 112881"/>
              <a:gd name="connsiteY4" fmla="*/ 10373 h 63216"/>
              <a:gd name="connsiteX5" fmla="*/ 43784 w 112881"/>
              <a:gd name="connsiteY5" fmla="*/ 16124 h 63216"/>
              <a:gd name="connsiteX6" fmla="*/ 20164 w 112881"/>
              <a:gd name="connsiteY6" fmla="*/ 16124 h 63216"/>
              <a:gd name="connsiteX7" fmla="*/ 17859 w 112881"/>
              <a:gd name="connsiteY7" fmla="*/ 13249 h 63216"/>
              <a:gd name="connsiteX8" fmla="*/ 15555 w 112881"/>
              <a:gd name="connsiteY8" fmla="*/ 17850 h 63216"/>
              <a:gd name="connsiteX9" fmla="*/ 8066 w 112881"/>
              <a:gd name="connsiteY9" fmla="*/ 22450 h 63216"/>
              <a:gd name="connsiteX10" fmla="*/ 5761 w 112881"/>
              <a:gd name="connsiteY10" fmla="*/ 29351 h 63216"/>
              <a:gd name="connsiteX11" fmla="*/ 2881 w 112881"/>
              <a:gd name="connsiteY11" fmla="*/ 36828 h 63216"/>
              <a:gd name="connsiteX12" fmla="*/ 0 w 112881"/>
              <a:gd name="connsiteY12" fmla="*/ 40853 h 63216"/>
              <a:gd name="connsiteX13" fmla="*/ 4033 w 112881"/>
              <a:gd name="connsiteY13" fmla="*/ 47179 h 63216"/>
              <a:gd name="connsiteX14" fmla="*/ 3456 w 112881"/>
              <a:gd name="connsiteY14" fmla="*/ 47754 h 63216"/>
              <a:gd name="connsiteX15" fmla="*/ 17859 w 112881"/>
              <a:gd name="connsiteY15" fmla="*/ 58681 h 63216"/>
              <a:gd name="connsiteX16" fmla="*/ 35718 w 112881"/>
              <a:gd name="connsiteY16" fmla="*/ 62707 h 63216"/>
              <a:gd name="connsiteX17" fmla="*/ 59915 w 112881"/>
              <a:gd name="connsiteY17" fmla="*/ 55231 h 63216"/>
              <a:gd name="connsiteX18" fmla="*/ 67404 w 112881"/>
              <a:gd name="connsiteY18" fmla="*/ 57531 h 63216"/>
              <a:gd name="connsiteX19" fmla="*/ 72589 w 112881"/>
              <a:gd name="connsiteY19" fmla="*/ 58106 h 63216"/>
              <a:gd name="connsiteX20" fmla="*/ 82959 w 112881"/>
              <a:gd name="connsiteY20" fmla="*/ 50630 h 63216"/>
              <a:gd name="connsiteX21" fmla="*/ 99090 w 112881"/>
              <a:gd name="connsiteY21" fmla="*/ 24176 h 63216"/>
              <a:gd name="connsiteX22" fmla="*/ 110612 w 112881"/>
              <a:gd name="connsiteY22" fmla="*/ 16700 h 63216"/>
              <a:gd name="connsiteX23" fmla="*/ 109460 w 112881"/>
              <a:gd name="connsiteY23" fmla="*/ 11524 h 6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81" h="63216">
                <a:moveTo>
                  <a:pt x="109460" y="11524"/>
                </a:moveTo>
                <a:cubicBezTo>
                  <a:pt x="108307" y="10949"/>
                  <a:pt x="106579" y="10373"/>
                  <a:pt x="105427" y="9223"/>
                </a:cubicBezTo>
                <a:cubicBezTo>
                  <a:pt x="100818" y="8073"/>
                  <a:pt x="95633" y="6923"/>
                  <a:pt x="94481" y="5198"/>
                </a:cubicBezTo>
                <a:cubicBezTo>
                  <a:pt x="91600" y="2322"/>
                  <a:pt x="80078" y="597"/>
                  <a:pt x="78350" y="22"/>
                </a:cubicBezTo>
                <a:cubicBezTo>
                  <a:pt x="76622" y="-553"/>
                  <a:pt x="65676" y="10373"/>
                  <a:pt x="62219" y="10373"/>
                </a:cubicBezTo>
                <a:cubicBezTo>
                  <a:pt x="58763" y="10373"/>
                  <a:pt x="43784" y="12099"/>
                  <a:pt x="43784" y="16124"/>
                </a:cubicBezTo>
                <a:cubicBezTo>
                  <a:pt x="43784" y="20150"/>
                  <a:pt x="25349" y="20725"/>
                  <a:pt x="20164" y="16124"/>
                </a:cubicBezTo>
                <a:cubicBezTo>
                  <a:pt x="19588" y="15549"/>
                  <a:pt x="18435" y="14399"/>
                  <a:pt x="17859" y="13249"/>
                </a:cubicBezTo>
                <a:cubicBezTo>
                  <a:pt x="16707" y="14399"/>
                  <a:pt x="15555" y="16124"/>
                  <a:pt x="15555" y="17850"/>
                </a:cubicBezTo>
                <a:cubicBezTo>
                  <a:pt x="15555" y="23026"/>
                  <a:pt x="11522" y="22450"/>
                  <a:pt x="8066" y="22450"/>
                </a:cubicBezTo>
                <a:cubicBezTo>
                  <a:pt x="4609" y="21875"/>
                  <a:pt x="8066" y="27051"/>
                  <a:pt x="5761" y="29351"/>
                </a:cubicBezTo>
                <a:cubicBezTo>
                  <a:pt x="3456" y="31652"/>
                  <a:pt x="5761" y="36828"/>
                  <a:pt x="2881" y="36828"/>
                </a:cubicBezTo>
                <a:cubicBezTo>
                  <a:pt x="1152" y="36828"/>
                  <a:pt x="576" y="38553"/>
                  <a:pt x="0" y="40853"/>
                </a:cubicBezTo>
                <a:cubicBezTo>
                  <a:pt x="1152" y="41428"/>
                  <a:pt x="4033" y="47179"/>
                  <a:pt x="4033" y="47179"/>
                </a:cubicBezTo>
                <a:cubicBezTo>
                  <a:pt x="4033" y="47179"/>
                  <a:pt x="4033" y="47179"/>
                  <a:pt x="3456" y="47754"/>
                </a:cubicBezTo>
                <a:cubicBezTo>
                  <a:pt x="7489" y="50055"/>
                  <a:pt x="15555" y="55231"/>
                  <a:pt x="17859" y="58681"/>
                </a:cubicBezTo>
                <a:cubicBezTo>
                  <a:pt x="21316" y="63282"/>
                  <a:pt x="31110" y="63857"/>
                  <a:pt x="35718" y="62707"/>
                </a:cubicBezTo>
                <a:cubicBezTo>
                  <a:pt x="40327" y="61557"/>
                  <a:pt x="59915" y="55231"/>
                  <a:pt x="59915" y="55231"/>
                </a:cubicBezTo>
                <a:cubicBezTo>
                  <a:pt x="59915" y="55231"/>
                  <a:pt x="64524" y="56956"/>
                  <a:pt x="67404" y="57531"/>
                </a:cubicBezTo>
                <a:cubicBezTo>
                  <a:pt x="67980" y="57531"/>
                  <a:pt x="69708" y="58106"/>
                  <a:pt x="72589" y="58106"/>
                </a:cubicBezTo>
                <a:cubicBezTo>
                  <a:pt x="73741" y="56381"/>
                  <a:pt x="78350" y="55231"/>
                  <a:pt x="82959" y="50630"/>
                </a:cubicBezTo>
                <a:cubicBezTo>
                  <a:pt x="88144" y="45454"/>
                  <a:pt x="96785" y="25901"/>
                  <a:pt x="99090" y="24176"/>
                </a:cubicBezTo>
                <a:cubicBezTo>
                  <a:pt x="101394" y="22450"/>
                  <a:pt x="107731" y="19000"/>
                  <a:pt x="110612" y="16700"/>
                </a:cubicBezTo>
                <a:cubicBezTo>
                  <a:pt x="114068" y="15549"/>
                  <a:pt x="113492" y="12674"/>
                  <a:pt x="109460" y="1152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2" name="Freeform 291">
            <a:extLst>
              <a:ext uri="{FF2B5EF4-FFF2-40B4-BE49-F238E27FC236}">
                <a16:creationId xmlns:a16="http://schemas.microsoft.com/office/drawing/2014/main" id="{ABFC6E73-34F4-162F-F337-CC635A5B8084}"/>
              </a:ext>
            </a:extLst>
          </p:cNvPr>
          <p:cNvSpPr/>
          <p:nvPr/>
        </p:nvSpPr>
        <p:spPr>
          <a:xfrm>
            <a:off x="9881981" y="2771635"/>
            <a:ext cx="892162" cy="461828"/>
          </a:xfrm>
          <a:custGeom>
            <a:avLst/>
            <a:gdLst>
              <a:gd name="connsiteX0" fmla="*/ 102632 w 107817"/>
              <a:gd name="connsiteY0" fmla="*/ 25304 h 55811"/>
              <a:gd name="connsiteX1" fmla="*/ 91110 w 107817"/>
              <a:gd name="connsiteY1" fmla="*/ 22428 h 55811"/>
              <a:gd name="connsiteX2" fmla="*/ 86501 w 107817"/>
              <a:gd name="connsiteY2" fmla="*/ 16103 h 55811"/>
              <a:gd name="connsiteX3" fmla="*/ 76707 w 107817"/>
              <a:gd name="connsiteY3" fmla="*/ 17828 h 55811"/>
              <a:gd name="connsiteX4" fmla="*/ 67490 w 107817"/>
              <a:gd name="connsiteY4" fmla="*/ 13802 h 55811"/>
              <a:gd name="connsiteX5" fmla="*/ 55968 w 107817"/>
              <a:gd name="connsiteY5" fmla="*/ 5751 h 55811"/>
              <a:gd name="connsiteX6" fmla="*/ 45598 w 107817"/>
              <a:gd name="connsiteY6" fmla="*/ 0 h 55811"/>
              <a:gd name="connsiteX7" fmla="*/ 44446 w 107817"/>
              <a:gd name="connsiteY7" fmla="*/ 1725 h 55811"/>
              <a:gd name="connsiteX8" fmla="*/ 35228 w 107817"/>
              <a:gd name="connsiteY8" fmla="*/ 2300 h 55811"/>
              <a:gd name="connsiteX9" fmla="*/ 20826 w 107817"/>
              <a:gd name="connsiteY9" fmla="*/ 8626 h 55811"/>
              <a:gd name="connsiteX10" fmla="*/ 2390 w 107817"/>
              <a:gd name="connsiteY10" fmla="*/ 15527 h 55811"/>
              <a:gd name="connsiteX11" fmla="*/ 3543 w 107817"/>
              <a:gd name="connsiteY11" fmla="*/ 24729 h 55811"/>
              <a:gd name="connsiteX12" fmla="*/ 9304 w 107817"/>
              <a:gd name="connsiteY12" fmla="*/ 39681 h 55811"/>
              <a:gd name="connsiteX13" fmla="*/ 27739 w 107817"/>
              <a:gd name="connsiteY13" fmla="*/ 53483 h 55811"/>
              <a:gd name="connsiteX14" fmla="*/ 27739 w 107817"/>
              <a:gd name="connsiteY14" fmla="*/ 54634 h 55811"/>
              <a:gd name="connsiteX15" fmla="*/ 42718 w 107817"/>
              <a:gd name="connsiteY15" fmla="*/ 53483 h 55811"/>
              <a:gd name="connsiteX16" fmla="*/ 45598 w 107817"/>
              <a:gd name="connsiteY16" fmla="*/ 45432 h 55811"/>
              <a:gd name="connsiteX17" fmla="*/ 61729 w 107817"/>
              <a:gd name="connsiteY17" fmla="*/ 50608 h 55811"/>
              <a:gd name="connsiteX18" fmla="*/ 74979 w 107817"/>
              <a:gd name="connsiteY18" fmla="*/ 52333 h 55811"/>
              <a:gd name="connsiteX19" fmla="*/ 76132 w 107817"/>
              <a:gd name="connsiteY19" fmla="*/ 55784 h 55811"/>
              <a:gd name="connsiteX20" fmla="*/ 80740 w 107817"/>
              <a:gd name="connsiteY20" fmla="*/ 50033 h 55811"/>
              <a:gd name="connsiteX21" fmla="*/ 97447 w 107817"/>
              <a:gd name="connsiteY21" fmla="*/ 41406 h 55811"/>
              <a:gd name="connsiteX22" fmla="*/ 107817 w 107817"/>
              <a:gd name="connsiteY22" fmla="*/ 32780 h 55811"/>
              <a:gd name="connsiteX23" fmla="*/ 102632 w 107817"/>
              <a:gd name="connsiteY23" fmla="*/ 25304 h 5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817" h="55811">
                <a:moveTo>
                  <a:pt x="102632" y="25304"/>
                </a:moveTo>
                <a:cubicBezTo>
                  <a:pt x="99752" y="23579"/>
                  <a:pt x="91686" y="24729"/>
                  <a:pt x="91110" y="22428"/>
                </a:cubicBezTo>
                <a:cubicBezTo>
                  <a:pt x="90534" y="20128"/>
                  <a:pt x="89958" y="16103"/>
                  <a:pt x="86501" y="16103"/>
                </a:cubicBezTo>
                <a:cubicBezTo>
                  <a:pt x="83045" y="16103"/>
                  <a:pt x="78436" y="13802"/>
                  <a:pt x="76707" y="17828"/>
                </a:cubicBezTo>
                <a:cubicBezTo>
                  <a:pt x="74979" y="21853"/>
                  <a:pt x="68066" y="16678"/>
                  <a:pt x="67490" y="13802"/>
                </a:cubicBezTo>
                <a:cubicBezTo>
                  <a:pt x="66914" y="10927"/>
                  <a:pt x="64033" y="8626"/>
                  <a:pt x="55968" y="5751"/>
                </a:cubicBezTo>
                <a:cubicBezTo>
                  <a:pt x="52511" y="4601"/>
                  <a:pt x="49055" y="2300"/>
                  <a:pt x="45598" y="0"/>
                </a:cubicBezTo>
                <a:cubicBezTo>
                  <a:pt x="45598" y="575"/>
                  <a:pt x="45022" y="1150"/>
                  <a:pt x="44446" y="1725"/>
                </a:cubicBezTo>
                <a:cubicBezTo>
                  <a:pt x="42718" y="4026"/>
                  <a:pt x="37533" y="0"/>
                  <a:pt x="35228" y="2300"/>
                </a:cubicBezTo>
                <a:cubicBezTo>
                  <a:pt x="32924" y="4601"/>
                  <a:pt x="24858" y="5176"/>
                  <a:pt x="20826" y="8626"/>
                </a:cubicBezTo>
                <a:cubicBezTo>
                  <a:pt x="16793" y="12652"/>
                  <a:pt x="7575" y="14377"/>
                  <a:pt x="2390" y="15527"/>
                </a:cubicBezTo>
                <a:cubicBezTo>
                  <a:pt x="-2795" y="16678"/>
                  <a:pt x="1814" y="21278"/>
                  <a:pt x="3543" y="24729"/>
                </a:cubicBezTo>
                <a:cubicBezTo>
                  <a:pt x="5271" y="28179"/>
                  <a:pt x="5271" y="36806"/>
                  <a:pt x="9304" y="39681"/>
                </a:cubicBezTo>
                <a:cubicBezTo>
                  <a:pt x="13336" y="42557"/>
                  <a:pt x="26010" y="50608"/>
                  <a:pt x="27739" y="53483"/>
                </a:cubicBezTo>
                <a:cubicBezTo>
                  <a:pt x="27739" y="54058"/>
                  <a:pt x="27739" y="54634"/>
                  <a:pt x="27739" y="54634"/>
                </a:cubicBezTo>
                <a:cubicBezTo>
                  <a:pt x="32924" y="56359"/>
                  <a:pt x="41565" y="56359"/>
                  <a:pt x="42718" y="53483"/>
                </a:cubicBezTo>
                <a:cubicBezTo>
                  <a:pt x="44446" y="50608"/>
                  <a:pt x="45598" y="45432"/>
                  <a:pt x="45598" y="45432"/>
                </a:cubicBezTo>
                <a:cubicBezTo>
                  <a:pt x="45598" y="45432"/>
                  <a:pt x="57120" y="45432"/>
                  <a:pt x="61729" y="50608"/>
                </a:cubicBezTo>
                <a:cubicBezTo>
                  <a:pt x="66338" y="55784"/>
                  <a:pt x="74979" y="52333"/>
                  <a:pt x="74979" y="52333"/>
                </a:cubicBezTo>
                <a:cubicBezTo>
                  <a:pt x="74979" y="52333"/>
                  <a:pt x="75556" y="54058"/>
                  <a:pt x="76132" y="55784"/>
                </a:cubicBezTo>
                <a:cubicBezTo>
                  <a:pt x="77284" y="52908"/>
                  <a:pt x="79012" y="50608"/>
                  <a:pt x="80740" y="50033"/>
                </a:cubicBezTo>
                <a:cubicBezTo>
                  <a:pt x="85349" y="49458"/>
                  <a:pt x="92839" y="48883"/>
                  <a:pt x="97447" y="41406"/>
                </a:cubicBezTo>
                <a:cubicBezTo>
                  <a:pt x="99752" y="37956"/>
                  <a:pt x="104361" y="35080"/>
                  <a:pt x="107817" y="32780"/>
                </a:cubicBezTo>
                <a:cubicBezTo>
                  <a:pt x="106089" y="30480"/>
                  <a:pt x="104937" y="26454"/>
                  <a:pt x="102632" y="2530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3" name="Freeform 292">
            <a:extLst>
              <a:ext uri="{FF2B5EF4-FFF2-40B4-BE49-F238E27FC236}">
                <a16:creationId xmlns:a16="http://schemas.microsoft.com/office/drawing/2014/main" id="{4447F4FC-AE55-4737-48C0-BCAAED954941}"/>
              </a:ext>
            </a:extLst>
          </p:cNvPr>
          <p:cNvSpPr/>
          <p:nvPr/>
        </p:nvSpPr>
        <p:spPr>
          <a:xfrm>
            <a:off x="10516713" y="3047639"/>
            <a:ext cx="810408" cy="331355"/>
          </a:xfrm>
          <a:custGeom>
            <a:avLst/>
            <a:gdLst>
              <a:gd name="connsiteX0" fmla="*/ 72589 w 97937"/>
              <a:gd name="connsiteY0" fmla="*/ 4026 h 40044"/>
              <a:gd name="connsiteX1" fmla="*/ 59339 w 97937"/>
              <a:gd name="connsiteY1" fmla="*/ 2875 h 40044"/>
              <a:gd name="connsiteX2" fmla="*/ 44360 w 97937"/>
              <a:gd name="connsiteY2" fmla="*/ 1150 h 40044"/>
              <a:gd name="connsiteX3" fmla="*/ 33990 w 97937"/>
              <a:gd name="connsiteY3" fmla="*/ 2300 h 40044"/>
              <a:gd name="connsiteX4" fmla="*/ 31686 w 97937"/>
              <a:gd name="connsiteY4" fmla="*/ 0 h 40044"/>
              <a:gd name="connsiteX5" fmla="*/ 21316 w 97937"/>
              <a:gd name="connsiteY5" fmla="*/ 8626 h 40044"/>
              <a:gd name="connsiteX6" fmla="*/ 4609 w 97937"/>
              <a:gd name="connsiteY6" fmla="*/ 17253 h 40044"/>
              <a:gd name="connsiteX7" fmla="*/ 0 w 97937"/>
              <a:gd name="connsiteY7" fmla="*/ 23004 h 40044"/>
              <a:gd name="connsiteX8" fmla="*/ 8066 w 97937"/>
              <a:gd name="connsiteY8" fmla="*/ 36806 h 40044"/>
              <a:gd name="connsiteX9" fmla="*/ 31686 w 97937"/>
              <a:gd name="connsiteY9" fmla="*/ 36806 h 40044"/>
              <a:gd name="connsiteX10" fmla="*/ 50121 w 97937"/>
              <a:gd name="connsiteY10" fmla="*/ 31055 h 40044"/>
              <a:gd name="connsiteX11" fmla="*/ 66252 w 97937"/>
              <a:gd name="connsiteY11" fmla="*/ 20703 h 40044"/>
              <a:gd name="connsiteX12" fmla="*/ 82383 w 97937"/>
              <a:gd name="connsiteY12" fmla="*/ 25879 h 40044"/>
              <a:gd name="connsiteX13" fmla="*/ 93329 w 97937"/>
              <a:gd name="connsiteY13" fmla="*/ 29905 h 40044"/>
              <a:gd name="connsiteX14" fmla="*/ 89872 w 97937"/>
              <a:gd name="connsiteY14" fmla="*/ 23579 h 40044"/>
              <a:gd name="connsiteX15" fmla="*/ 97362 w 97937"/>
              <a:gd name="connsiteY15" fmla="*/ 10927 h 40044"/>
              <a:gd name="connsiteX16" fmla="*/ 97937 w 97937"/>
              <a:gd name="connsiteY16" fmla="*/ 10352 h 40044"/>
              <a:gd name="connsiteX17" fmla="*/ 87568 w 97937"/>
              <a:gd name="connsiteY17" fmla="*/ 8051 h 40044"/>
              <a:gd name="connsiteX18" fmla="*/ 72589 w 97937"/>
              <a:gd name="connsiteY18" fmla="*/ 4026 h 4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937" h="40044">
                <a:moveTo>
                  <a:pt x="72589" y="4026"/>
                </a:moveTo>
                <a:cubicBezTo>
                  <a:pt x="66828" y="4601"/>
                  <a:pt x="63948" y="1150"/>
                  <a:pt x="59339" y="2875"/>
                </a:cubicBezTo>
                <a:cubicBezTo>
                  <a:pt x="54730" y="4601"/>
                  <a:pt x="47240" y="2875"/>
                  <a:pt x="44360" y="1150"/>
                </a:cubicBezTo>
                <a:cubicBezTo>
                  <a:pt x="41479" y="-575"/>
                  <a:pt x="38023" y="4601"/>
                  <a:pt x="33990" y="2300"/>
                </a:cubicBezTo>
                <a:cubicBezTo>
                  <a:pt x="32838" y="1725"/>
                  <a:pt x="32262" y="1150"/>
                  <a:pt x="31686" y="0"/>
                </a:cubicBezTo>
                <a:cubicBezTo>
                  <a:pt x="28229" y="1725"/>
                  <a:pt x="24196" y="4601"/>
                  <a:pt x="21316" y="8626"/>
                </a:cubicBezTo>
                <a:cubicBezTo>
                  <a:pt x="16707" y="15527"/>
                  <a:pt x="9218" y="16102"/>
                  <a:pt x="4609" y="17253"/>
                </a:cubicBezTo>
                <a:cubicBezTo>
                  <a:pt x="2881" y="17828"/>
                  <a:pt x="1152" y="20128"/>
                  <a:pt x="0" y="23004"/>
                </a:cubicBezTo>
                <a:cubicBezTo>
                  <a:pt x="1729" y="27029"/>
                  <a:pt x="4609" y="33930"/>
                  <a:pt x="8066" y="36806"/>
                </a:cubicBezTo>
                <a:cubicBezTo>
                  <a:pt x="13251" y="41406"/>
                  <a:pt x="31686" y="40831"/>
                  <a:pt x="31686" y="36806"/>
                </a:cubicBezTo>
                <a:cubicBezTo>
                  <a:pt x="31686" y="32780"/>
                  <a:pt x="46665" y="31055"/>
                  <a:pt x="50121" y="31055"/>
                </a:cubicBezTo>
                <a:cubicBezTo>
                  <a:pt x="53578" y="31055"/>
                  <a:pt x="64524" y="20128"/>
                  <a:pt x="66252" y="20703"/>
                </a:cubicBezTo>
                <a:cubicBezTo>
                  <a:pt x="67980" y="21278"/>
                  <a:pt x="79502" y="23004"/>
                  <a:pt x="82383" y="25879"/>
                </a:cubicBezTo>
                <a:cubicBezTo>
                  <a:pt x="83535" y="27029"/>
                  <a:pt x="88720" y="28755"/>
                  <a:pt x="93329" y="29905"/>
                </a:cubicBezTo>
                <a:cubicBezTo>
                  <a:pt x="91025" y="28179"/>
                  <a:pt x="89872" y="25879"/>
                  <a:pt x="89872" y="23579"/>
                </a:cubicBezTo>
                <a:cubicBezTo>
                  <a:pt x="89872" y="20703"/>
                  <a:pt x="95633" y="12077"/>
                  <a:pt x="97362" y="10927"/>
                </a:cubicBezTo>
                <a:cubicBezTo>
                  <a:pt x="97362" y="10927"/>
                  <a:pt x="97362" y="10352"/>
                  <a:pt x="97937" y="10352"/>
                </a:cubicBezTo>
                <a:cubicBezTo>
                  <a:pt x="93329" y="9777"/>
                  <a:pt x="88720" y="8626"/>
                  <a:pt x="87568" y="8051"/>
                </a:cubicBezTo>
                <a:cubicBezTo>
                  <a:pt x="85839" y="5751"/>
                  <a:pt x="78350" y="3450"/>
                  <a:pt x="72589" y="402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4" name="Freeform 293">
            <a:extLst>
              <a:ext uri="{FF2B5EF4-FFF2-40B4-BE49-F238E27FC236}">
                <a16:creationId xmlns:a16="http://schemas.microsoft.com/office/drawing/2014/main" id="{41B2F832-E418-180A-8EFB-C909D629EA74}"/>
              </a:ext>
            </a:extLst>
          </p:cNvPr>
          <p:cNvSpPr/>
          <p:nvPr/>
        </p:nvSpPr>
        <p:spPr>
          <a:xfrm>
            <a:off x="6688859" y="4414464"/>
            <a:ext cx="489096" cy="889875"/>
          </a:xfrm>
          <a:custGeom>
            <a:avLst/>
            <a:gdLst>
              <a:gd name="connsiteX0" fmla="*/ 44343 w 59107"/>
              <a:gd name="connsiteY0" fmla="*/ 86710 h 107541"/>
              <a:gd name="connsiteX1" fmla="*/ 40310 w 59107"/>
              <a:gd name="connsiteY1" fmla="*/ 78084 h 107541"/>
              <a:gd name="connsiteX2" fmla="*/ 44919 w 59107"/>
              <a:gd name="connsiteY2" fmla="*/ 68882 h 107541"/>
              <a:gd name="connsiteX3" fmla="*/ 39734 w 59107"/>
              <a:gd name="connsiteY3" fmla="*/ 59681 h 107541"/>
              <a:gd name="connsiteX4" fmla="*/ 44343 w 59107"/>
              <a:gd name="connsiteY4" fmla="*/ 52780 h 107541"/>
              <a:gd name="connsiteX5" fmla="*/ 47223 w 59107"/>
              <a:gd name="connsiteY5" fmla="*/ 40703 h 107541"/>
              <a:gd name="connsiteX6" fmla="*/ 46071 w 59107"/>
              <a:gd name="connsiteY6" fmla="*/ 24600 h 107541"/>
              <a:gd name="connsiteX7" fmla="*/ 57593 w 59107"/>
              <a:gd name="connsiteY7" fmla="*/ 14249 h 107541"/>
              <a:gd name="connsiteX8" fmla="*/ 52985 w 59107"/>
              <a:gd name="connsiteY8" fmla="*/ 7348 h 107541"/>
              <a:gd name="connsiteX9" fmla="*/ 42039 w 59107"/>
              <a:gd name="connsiteY9" fmla="*/ 5622 h 107541"/>
              <a:gd name="connsiteX10" fmla="*/ 35125 w 59107"/>
              <a:gd name="connsiteY10" fmla="*/ 5622 h 107541"/>
              <a:gd name="connsiteX11" fmla="*/ 24179 w 59107"/>
              <a:gd name="connsiteY11" fmla="*/ 3322 h 107541"/>
              <a:gd name="connsiteX12" fmla="*/ 17842 w 59107"/>
              <a:gd name="connsiteY12" fmla="*/ 2747 h 107541"/>
              <a:gd name="connsiteX13" fmla="*/ 13233 w 59107"/>
              <a:gd name="connsiteY13" fmla="*/ 4472 h 107541"/>
              <a:gd name="connsiteX14" fmla="*/ 13810 w 59107"/>
              <a:gd name="connsiteY14" fmla="*/ 16549 h 107541"/>
              <a:gd name="connsiteX15" fmla="*/ 2864 w 59107"/>
              <a:gd name="connsiteY15" fmla="*/ 58531 h 107541"/>
              <a:gd name="connsiteX16" fmla="*/ 9777 w 59107"/>
              <a:gd name="connsiteY16" fmla="*/ 74058 h 107541"/>
              <a:gd name="connsiteX17" fmla="*/ 12081 w 59107"/>
              <a:gd name="connsiteY17" fmla="*/ 103963 h 107541"/>
              <a:gd name="connsiteX18" fmla="*/ 25332 w 59107"/>
              <a:gd name="connsiteY18" fmla="*/ 107413 h 107541"/>
              <a:gd name="connsiteX19" fmla="*/ 39158 w 59107"/>
              <a:gd name="connsiteY19" fmla="*/ 104538 h 107541"/>
              <a:gd name="connsiteX20" fmla="*/ 36854 w 59107"/>
              <a:gd name="connsiteY20" fmla="*/ 98787 h 107541"/>
              <a:gd name="connsiteX21" fmla="*/ 44343 w 59107"/>
              <a:gd name="connsiteY21" fmla="*/ 86710 h 10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107" h="107541">
                <a:moveTo>
                  <a:pt x="44343" y="86710"/>
                </a:moveTo>
                <a:cubicBezTo>
                  <a:pt x="51256" y="85560"/>
                  <a:pt x="42615" y="79809"/>
                  <a:pt x="40310" y="78084"/>
                </a:cubicBezTo>
                <a:cubicBezTo>
                  <a:pt x="38582" y="76359"/>
                  <a:pt x="40886" y="68882"/>
                  <a:pt x="44919" y="68882"/>
                </a:cubicBezTo>
                <a:cubicBezTo>
                  <a:pt x="48952" y="68882"/>
                  <a:pt x="44919" y="64282"/>
                  <a:pt x="39734" y="59681"/>
                </a:cubicBezTo>
                <a:cubicBezTo>
                  <a:pt x="34549" y="54505"/>
                  <a:pt x="39734" y="52780"/>
                  <a:pt x="44343" y="52780"/>
                </a:cubicBezTo>
                <a:cubicBezTo>
                  <a:pt x="48952" y="52780"/>
                  <a:pt x="43191" y="45304"/>
                  <a:pt x="47223" y="40703"/>
                </a:cubicBezTo>
                <a:cubicBezTo>
                  <a:pt x="51832" y="36102"/>
                  <a:pt x="46071" y="28051"/>
                  <a:pt x="46071" y="24600"/>
                </a:cubicBezTo>
                <a:cubicBezTo>
                  <a:pt x="46071" y="20575"/>
                  <a:pt x="52408" y="19425"/>
                  <a:pt x="57593" y="14249"/>
                </a:cubicBezTo>
                <a:cubicBezTo>
                  <a:pt x="62778" y="9073"/>
                  <a:pt x="52985" y="11373"/>
                  <a:pt x="52985" y="7348"/>
                </a:cubicBezTo>
                <a:cubicBezTo>
                  <a:pt x="52985" y="3322"/>
                  <a:pt x="46647" y="2172"/>
                  <a:pt x="42039" y="5622"/>
                </a:cubicBezTo>
                <a:cubicBezTo>
                  <a:pt x="37430" y="8498"/>
                  <a:pt x="39158" y="5622"/>
                  <a:pt x="35125" y="5622"/>
                </a:cubicBezTo>
                <a:cubicBezTo>
                  <a:pt x="31093" y="5622"/>
                  <a:pt x="24179" y="6773"/>
                  <a:pt x="24179" y="3322"/>
                </a:cubicBezTo>
                <a:cubicBezTo>
                  <a:pt x="24179" y="-704"/>
                  <a:pt x="21299" y="-1279"/>
                  <a:pt x="17842" y="2747"/>
                </a:cubicBezTo>
                <a:cubicBezTo>
                  <a:pt x="16690" y="3897"/>
                  <a:pt x="15538" y="4472"/>
                  <a:pt x="13233" y="4472"/>
                </a:cubicBezTo>
                <a:cubicBezTo>
                  <a:pt x="12657" y="9648"/>
                  <a:pt x="12081" y="14249"/>
                  <a:pt x="13810" y="16549"/>
                </a:cubicBezTo>
                <a:cubicBezTo>
                  <a:pt x="17266" y="21725"/>
                  <a:pt x="9777" y="50480"/>
                  <a:pt x="2864" y="58531"/>
                </a:cubicBezTo>
                <a:cubicBezTo>
                  <a:pt x="-4050" y="66007"/>
                  <a:pt x="2864" y="68307"/>
                  <a:pt x="9777" y="74058"/>
                </a:cubicBezTo>
                <a:cubicBezTo>
                  <a:pt x="16690" y="79234"/>
                  <a:pt x="12081" y="99362"/>
                  <a:pt x="12081" y="103963"/>
                </a:cubicBezTo>
                <a:cubicBezTo>
                  <a:pt x="12081" y="108564"/>
                  <a:pt x="18418" y="107413"/>
                  <a:pt x="25332" y="107413"/>
                </a:cubicBezTo>
                <a:cubicBezTo>
                  <a:pt x="29940" y="107413"/>
                  <a:pt x="34549" y="105688"/>
                  <a:pt x="39158" y="104538"/>
                </a:cubicBezTo>
                <a:cubicBezTo>
                  <a:pt x="38006" y="102238"/>
                  <a:pt x="36854" y="100512"/>
                  <a:pt x="36854" y="98787"/>
                </a:cubicBezTo>
                <a:cubicBezTo>
                  <a:pt x="37430" y="93611"/>
                  <a:pt x="37430" y="88435"/>
                  <a:pt x="44343" y="8671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5" name="Freeform 294">
            <a:extLst>
              <a:ext uri="{FF2B5EF4-FFF2-40B4-BE49-F238E27FC236}">
                <a16:creationId xmlns:a16="http://schemas.microsoft.com/office/drawing/2014/main" id="{C880CBA7-A3EB-8BA4-BB6F-CE9E1E242B50}"/>
              </a:ext>
            </a:extLst>
          </p:cNvPr>
          <p:cNvSpPr/>
          <p:nvPr/>
        </p:nvSpPr>
        <p:spPr>
          <a:xfrm>
            <a:off x="8547894" y="2305281"/>
            <a:ext cx="599754" cy="504426"/>
          </a:xfrm>
          <a:custGeom>
            <a:avLst/>
            <a:gdLst>
              <a:gd name="connsiteX0" fmla="*/ 23620 w 72480"/>
              <a:gd name="connsiteY0" fmla="*/ 47157 h 60959"/>
              <a:gd name="connsiteX1" fmla="*/ 35718 w 72480"/>
              <a:gd name="connsiteY1" fmla="*/ 48883 h 60959"/>
              <a:gd name="connsiteX2" fmla="*/ 48393 w 72480"/>
              <a:gd name="connsiteY2" fmla="*/ 57509 h 60959"/>
              <a:gd name="connsiteX3" fmla="*/ 52426 w 72480"/>
              <a:gd name="connsiteY3" fmla="*/ 60960 h 60959"/>
              <a:gd name="connsiteX4" fmla="*/ 54154 w 72480"/>
              <a:gd name="connsiteY4" fmla="*/ 47733 h 60959"/>
              <a:gd name="connsiteX5" fmla="*/ 55306 w 72480"/>
              <a:gd name="connsiteY5" fmla="*/ 39681 h 60959"/>
              <a:gd name="connsiteX6" fmla="*/ 65100 w 72480"/>
              <a:gd name="connsiteY6" fmla="*/ 35081 h 60959"/>
              <a:gd name="connsiteX7" fmla="*/ 68556 w 72480"/>
              <a:gd name="connsiteY7" fmla="*/ 29330 h 60959"/>
              <a:gd name="connsiteX8" fmla="*/ 62795 w 72480"/>
              <a:gd name="connsiteY8" fmla="*/ 20128 h 60959"/>
              <a:gd name="connsiteX9" fmla="*/ 71437 w 72480"/>
              <a:gd name="connsiteY9" fmla="*/ 12077 h 60959"/>
              <a:gd name="connsiteX10" fmla="*/ 70861 w 72480"/>
              <a:gd name="connsiteY10" fmla="*/ 0 h 60959"/>
              <a:gd name="connsiteX11" fmla="*/ 66252 w 72480"/>
              <a:gd name="connsiteY11" fmla="*/ 1725 h 60959"/>
              <a:gd name="connsiteX12" fmla="*/ 48393 w 72480"/>
              <a:gd name="connsiteY12" fmla="*/ 2300 h 60959"/>
              <a:gd name="connsiteX13" fmla="*/ 40904 w 72480"/>
              <a:gd name="connsiteY13" fmla="*/ 14377 h 60959"/>
              <a:gd name="connsiteX14" fmla="*/ 32838 w 72480"/>
              <a:gd name="connsiteY14" fmla="*/ 14952 h 60959"/>
              <a:gd name="connsiteX15" fmla="*/ 24772 w 72480"/>
              <a:gd name="connsiteY15" fmla="*/ 18978 h 60959"/>
              <a:gd name="connsiteX16" fmla="*/ 16707 w 72480"/>
              <a:gd name="connsiteY16" fmla="*/ 33355 h 60959"/>
              <a:gd name="connsiteX17" fmla="*/ 2881 w 72480"/>
              <a:gd name="connsiteY17" fmla="*/ 49458 h 60959"/>
              <a:gd name="connsiteX18" fmla="*/ 0 w 72480"/>
              <a:gd name="connsiteY18" fmla="*/ 51183 h 60959"/>
              <a:gd name="connsiteX19" fmla="*/ 6337 w 72480"/>
              <a:gd name="connsiteY19" fmla="*/ 53483 h 60959"/>
              <a:gd name="connsiteX20" fmla="*/ 23620 w 72480"/>
              <a:gd name="connsiteY20" fmla="*/ 47157 h 6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480" h="60959">
                <a:moveTo>
                  <a:pt x="23620" y="47157"/>
                </a:moveTo>
                <a:cubicBezTo>
                  <a:pt x="26501" y="44282"/>
                  <a:pt x="32262" y="45432"/>
                  <a:pt x="35718" y="48883"/>
                </a:cubicBezTo>
                <a:cubicBezTo>
                  <a:pt x="38599" y="52333"/>
                  <a:pt x="43784" y="52908"/>
                  <a:pt x="48393" y="57509"/>
                </a:cubicBezTo>
                <a:cubicBezTo>
                  <a:pt x="49545" y="58659"/>
                  <a:pt x="50697" y="59809"/>
                  <a:pt x="52426" y="60960"/>
                </a:cubicBezTo>
                <a:cubicBezTo>
                  <a:pt x="53002" y="57509"/>
                  <a:pt x="53002" y="51183"/>
                  <a:pt x="54154" y="47733"/>
                </a:cubicBezTo>
                <a:cubicBezTo>
                  <a:pt x="55882" y="44282"/>
                  <a:pt x="52426" y="39681"/>
                  <a:pt x="55306" y="39681"/>
                </a:cubicBezTo>
                <a:cubicBezTo>
                  <a:pt x="57610" y="39681"/>
                  <a:pt x="65100" y="39681"/>
                  <a:pt x="65100" y="35081"/>
                </a:cubicBezTo>
                <a:cubicBezTo>
                  <a:pt x="65100" y="30480"/>
                  <a:pt x="67404" y="32205"/>
                  <a:pt x="68556" y="29330"/>
                </a:cubicBezTo>
                <a:cubicBezTo>
                  <a:pt x="70285" y="27029"/>
                  <a:pt x="63948" y="21853"/>
                  <a:pt x="62795" y="20128"/>
                </a:cubicBezTo>
                <a:cubicBezTo>
                  <a:pt x="61643" y="18403"/>
                  <a:pt x="67404" y="17828"/>
                  <a:pt x="71437" y="12077"/>
                </a:cubicBezTo>
                <a:cubicBezTo>
                  <a:pt x="73165" y="9777"/>
                  <a:pt x="72589" y="5176"/>
                  <a:pt x="70861" y="0"/>
                </a:cubicBezTo>
                <a:cubicBezTo>
                  <a:pt x="70285" y="1725"/>
                  <a:pt x="68556" y="3451"/>
                  <a:pt x="66252" y="1725"/>
                </a:cubicBezTo>
                <a:cubicBezTo>
                  <a:pt x="62219" y="-575"/>
                  <a:pt x="56458" y="575"/>
                  <a:pt x="48393" y="2300"/>
                </a:cubicBezTo>
                <a:cubicBezTo>
                  <a:pt x="40904" y="4026"/>
                  <a:pt x="38023" y="11502"/>
                  <a:pt x="40904" y="14377"/>
                </a:cubicBezTo>
                <a:cubicBezTo>
                  <a:pt x="43784" y="17253"/>
                  <a:pt x="33414" y="18978"/>
                  <a:pt x="32838" y="14952"/>
                </a:cubicBezTo>
                <a:cubicBezTo>
                  <a:pt x="32262" y="10927"/>
                  <a:pt x="24196" y="13802"/>
                  <a:pt x="24772" y="18978"/>
                </a:cubicBezTo>
                <a:cubicBezTo>
                  <a:pt x="25349" y="24154"/>
                  <a:pt x="16131" y="26454"/>
                  <a:pt x="16707" y="33355"/>
                </a:cubicBezTo>
                <a:cubicBezTo>
                  <a:pt x="17283" y="40256"/>
                  <a:pt x="8642" y="46007"/>
                  <a:pt x="2881" y="49458"/>
                </a:cubicBezTo>
                <a:cubicBezTo>
                  <a:pt x="1728" y="50033"/>
                  <a:pt x="1152" y="50608"/>
                  <a:pt x="0" y="51183"/>
                </a:cubicBezTo>
                <a:cubicBezTo>
                  <a:pt x="2881" y="52333"/>
                  <a:pt x="5185" y="53483"/>
                  <a:pt x="6337" y="53483"/>
                </a:cubicBezTo>
                <a:cubicBezTo>
                  <a:pt x="11522" y="52908"/>
                  <a:pt x="20164" y="50608"/>
                  <a:pt x="23620" y="4715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6" name="Freeform 295">
            <a:extLst>
              <a:ext uri="{FF2B5EF4-FFF2-40B4-BE49-F238E27FC236}">
                <a16:creationId xmlns:a16="http://schemas.microsoft.com/office/drawing/2014/main" id="{8D247B0B-5D7A-02BC-1236-3940EBA69B4E}"/>
              </a:ext>
            </a:extLst>
          </p:cNvPr>
          <p:cNvSpPr/>
          <p:nvPr/>
        </p:nvSpPr>
        <p:spPr>
          <a:xfrm>
            <a:off x="8934026" y="2947701"/>
            <a:ext cx="95344" cy="133239"/>
          </a:xfrm>
          <a:custGeom>
            <a:avLst/>
            <a:gdLst>
              <a:gd name="connsiteX0" fmla="*/ 6337 w 11522"/>
              <a:gd name="connsiteY0" fmla="*/ 0 h 16102"/>
              <a:gd name="connsiteX1" fmla="*/ 0 w 11522"/>
              <a:gd name="connsiteY1" fmla="*/ 14952 h 16102"/>
              <a:gd name="connsiteX2" fmla="*/ 11522 w 11522"/>
              <a:gd name="connsiteY2" fmla="*/ 16103 h 16102"/>
              <a:gd name="connsiteX3" fmla="*/ 5761 w 11522"/>
              <a:gd name="connsiteY3" fmla="*/ 1725 h 16102"/>
              <a:gd name="connsiteX4" fmla="*/ 6337 w 11522"/>
              <a:gd name="connsiteY4" fmla="*/ 0 h 1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2" h="16102">
                <a:moveTo>
                  <a:pt x="6337" y="0"/>
                </a:moveTo>
                <a:cubicBezTo>
                  <a:pt x="2881" y="1725"/>
                  <a:pt x="0" y="6326"/>
                  <a:pt x="0" y="14952"/>
                </a:cubicBezTo>
                <a:cubicBezTo>
                  <a:pt x="3456" y="14952"/>
                  <a:pt x="8065" y="15527"/>
                  <a:pt x="11522" y="16103"/>
                </a:cubicBezTo>
                <a:cubicBezTo>
                  <a:pt x="10946" y="6326"/>
                  <a:pt x="6913" y="3451"/>
                  <a:pt x="5761" y="1725"/>
                </a:cubicBezTo>
                <a:cubicBezTo>
                  <a:pt x="5761" y="1150"/>
                  <a:pt x="5761" y="575"/>
                  <a:pt x="6337" y="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7" name="Freeform 296">
            <a:extLst>
              <a:ext uri="{FF2B5EF4-FFF2-40B4-BE49-F238E27FC236}">
                <a16:creationId xmlns:a16="http://schemas.microsoft.com/office/drawing/2014/main" id="{3A6136B2-75B0-170C-1EBD-1B89835DC60E}"/>
              </a:ext>
            </a:extLst>
          </p:cNvPr>
          <p:cNvSpPr/>
          <p:nvPr/>
        </p:nvSpPr>
        <p:spPr>
          <a:xfrm>
            <a:off x="8462088" y="2672499"/>
            <a:ext cx="562849" cy="389700"/>
          </a:xfrm>
          <a:custGeom>
            <a:avLst/>
            <a:gdLst>
              <a:gd name="connsiteX0" fmla="*/ 1728 w 68020"/>
              <a:gd name="connsiteY0" fmla="*/ 13707 h 47095"/>
              <a:gd name="connsiteX1" fmla="*/ 8066 w 68020"/>
              <a:gd name="connsiteY1" fmla="*/ 20033 h 47095"/>
              <a:gd name="connsiteX2" fmla="*/ 17283 w 68020"/>
              <a:gd name="connsiteY2" fmla="*/ 25208 h 47095"/>
              <a:gd name="connsiteX3" fmla="*/ 28229 w 68020"/>
              <a:gd name="connsiteY3" fmla="*/ 31534 h 47095"/>
              <a:gd name="connsiteX4" fmla="*/ 33414 w 68020"/>
              <a:gd name="connsiteY4" fmla="*/ 37285 h 47095"/>
              <a:gd name="connsiteX5" fmla="*/ 40903 w 68020"/>
              <a:gd name="connsiteY5" fmla="*/ 33260 h 47095"/>
              <a:gd name="connsiteX6" fmla="*/ 46088 w 68020"/>
              <a:gd name="connsiteY6" fmla="*/ 41311 h 47095"/>
              <a:gd name="connsiteX7" fmla="*/ 55306 w 68020"/>
              <a:gd name="connsiteY7" fmla="*/ 47062 h 47095"/>
              <a:gd name="connsiteX8" fmla="*/ 58186 w 68020"/>
              <a:gd name="connsiteY8" fmla="*/ 47062 h 47095"/>
              <a:gd name="connsiteX9" fmla="*/ 64524 w 68020"/>
              <a:gd name="connsiteY9" fmla="*/ 32110 h 47095"/>
              <a:gd name="connsiteX10" fmla="*/ 67980 w 68020"/>
              <a:gd name="connsiteY10" fmla="*/ 26934 h 47095"/>
              <a:gd name="connsiteX11" fmla="*/ 63371 w 68020"/>
              <a:gd name="connsiteY11" fmla="*/ 16007 h 47095"/>
              <a:gd name="connsiteX12" fmla="*/ 63371 w 68020"/>
              <a:gd name="connsiteY12" fmla="*/ 15432 h 47095"/>
              <a:gd name="connsiteX13" fmla="*/ 59339 w 68020"/>
              <a:gd name="connsiteY13" fmla="*/ 11981 h 47095"/>
              <a:gd name="connsiteX14" fmla="*/ 46664 w 68020"/>
              <a:gd name="connsiteY14" fmla="*/ 3355 h 47095"/>
              <a:gd name="connsiteX15" fmla="*/ 34566 w 68020"/>
              <a:gd name="connsiteY15" fmla="*/ 1630 h 47095"/>
              <a:gd name="connsiteX16" fmla="*/ 17859 w 68020"/>
              <a:gd name="connsiteY16" fmla="*/ 7381 h 47095"/>
              <a:gd name="connsiteX17" fmla="*/ 11522 w 68020"/>
              <a:gd name="connsiteY17" fmla="*/ 5080 h 47095"/>
              <a:gd name="connsiteX18" fmla="*/ 0 w 68020"/>
              <a:gd name="connsiteY18" fmla="*/ 10256 h 47095"/>
              <a:gd name="connsiteX19" fmla="*/ 1728 w 68020"/>
              <a:gd name="connsiteY19" fmla="*/ 13707 h 4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20" h="47095">
                <a:moveTo>
                  <a:pt x="1728" y="13707"/>
                </a:moveTo>
                <a:cubicBezTo>
                  <a:pt x="2305" y="16582"/>
                  <a:pt x="6337" y="22908"/>
                  <a:pt x="8066" y="20033"/>
                </a:cubicBezTo>
                <a:cubicBezTo>
                  <a:pt x="9794" y="17157"/>
                  <a:pt x="13250" y="23483"/>
                  <a:pt x="17283" y="25208"/>
                </a:cubicBezTo>
                <a:cubicBezTo>
                  <a:pt x="20740" y="26934"/>
                  <a:pt x="27653" y="29234"/>
                  <a:pt x="28229" y="31534"/>
                </a:cubicBezTo>
                <a:cubicBezTo>
                  <a:pt x="28805" y="33835"/>
                  <a:pt x="29957" y="39011"/>
                  <a:pt x="33414" y="37285"/>
                </a:cubicBezTo>
                <a:cubicBezTo>
                  <a:pt x="36871" y="35560"/>
                  <a:pt x="40903" y="30384"/>
                  <a:pt x="40903" y="33260"/>
                </a:cubicBezTo>
                <a:cubicBezTo>
                  <a:pt x="40903" y="36135"/>
                  <a:pt x="42055" y="42461"/>
                  <a:pt x="46088" y="41311"/>
                </a:cubicBezTo>
                <a:cubicBezTo>
                  <a:pt x="50121" y="40736"/>
                  <a:pt x="51273" y="47637"/>
                  <a:pt x="55306" y="47062"/>
                </a:cubicBezTo>
                <a:cubicBezTo>
                  <a:pt x="55882" y="47062"/>
                  <a:pt x="57034" y="47062"/>
                  <a:pt x="58186" y="47062"/>
                </a:cubicBezTo>
                <a:cubicBezTo>
                  <a:pt x="57610" y="38435"/>
                  <a:pt x="61067" y="34410"/>
                  <a:pt x="64524" y="32110"/>
                </a:cubicBezTo>
                <a:cubicBezTo>
                  <a:pt x="65100" y="30384"/>
                  <a:pt x="67404" y="28659"/>
                  <a:pt x="67980" y="26934"/>
                </a:cubicBezTo>
                <a:cubicBezTo>
                  <a:pt x="68556" y="24633"/>
                  <a:pt x="62795" y="19458"/>
                  <a:pt x="63371" y="16007"/>
                </a:cubicBezTo>
                <a:cubicBezTo>
                  <a:pt x="63371" y="16007"/>
                  <a:pt x="63371" y="15432"/>
                  <a:pt x="63371" y="15432"/>
                </a:cubicBezTo>
                <a:cubicBezTo>
                  <a:pt x="62219" y="14282"/>
                  <a:pt x="60491" y="13132"/>
                  <a:pt x="59339" y="11981"/>
                </a:cubicBezTo>
                <a:cubicBezTo>
                  <a:pt x="54730" y="7381"/>
                  <a:pt x="49545" y="6230"/>
                  <a:pt x="46664" y="3355"/>
                </a:cubicBezTo>
                <a:cubicBezTo>
                  <a:pt x="43208" y="-96"/>
                  <a:pt x="38023" y="-1246"/>
                  <a:pt x="34566" y="1630"/>
                </a:cubicBezTo>
                <a:cubicBezTo>
                  <a:pt x="31686" y="5080"/>
                  <a:pt x="22468" y="7381"/>
                  <a:pt x="17859" y="7381"/>
                </a:cubicBezTo>
                <a:cubicBezTo>
                  <a:pt x="16707" y="7381"/>
                  <a:pt x="14403" y="6230"/>
                  <a:pt x="11522" y="5080"/>
                </a:cubicBezTo>
                <a:cubicBezTo>
                  <a:pt x="8066" y="7381"/>
                  <a:pt x="4033" y="9106"/>
                  <a:pt x="0" y="10256"/>
                </a:cubicBezTo>
                <a:cubicBezTo>
                  <a:pt x="0" y="12556"/>
                  <a:pt x="1152" y="11981"/>
                  <a:pt x="1728" y="1370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8" name="Freeform 297">
            <a:extLst>
              <a:ext uri="{FF2B5EF4-FFF2-40B4-BE49-F238E27FC236}">
                <a16:creationId xmlns:a16="http://schemas.microsoft.com/office/drawing/2014/main" id="{B65A7B79-898B-DAFD-7FBD-AD48F1DC87D2}"/>
              </a:ext>
            </a:extLst>
          </p:cNvPr>
          <p:cNvSpPr/>
          <p:nvPr/>
        </p:nvSpPr>
        <p:spPr>
          <a:xfrm>
            <a:off x="11016983" y="3276056"/>
            <a:ext cx="1302109" cy="866091"/>
          </a:xfrm>
          <a:custGeom>
            <a:avLst/>
            <a:gdLst>
              <a:gd name="connsiteX0" fmla="*/ 141756 w 157359"/>
              <a:gd name="connsiteY0" fmla="*/ 68436 h 104666"/>
              <a:gd name="connsiteX1" fmla="*/ 134842 w 157359"/>
              <a:gd name="connsiteY1" fmla="*/ 64410 h 104666"/>
              <a:gd name="connsiteX2" fmla="*/ 135418 w 157359"/>
              <a:gd name="connsiteY2" fmla="*/ 63835 h 104666"/>
              <a:gd name="connsiteX3" fmla="*/ 132538 w 157359"/>
              <a:gd name="connsiteY3" fmla="*/ 44282 h 104666"/>
              <a:gd name="connsiteX4" fmla="*/ 121592 w 157359"/>
              <a:gd name="connsiteY4" fmla="*/ 19553 h 104666"/>
              <a:gd name="connsiteX5" fmla="*/ 110070 w 157359"/>
              <a:gd name="connsiteY5" fmla="*/ 0 h 104666"/>
              <a:gd name="connsiteX6" fmla="*/ 101428 w 157359"/>
              <a:gd name="connsiteY6" fmla="*/ 4026 h 104666"/>
              <a:gd name="connsiteX7" fmla="*/ 91635 w 157359"/>
              <a:gd name="connsiteY7" fmla="*/ 9201 h 104666"/>
              <a:gd name="connsiteX8" fmla="*/ 82993 w 157359"/>
              <a:gd name="connsiteY8" fmla="*/ 10352 h 104666"/>
              <a:gd name="connsiteX9" fmla="*/ 75504 w 157359"/>
              <a:gd name="connsiteY9" fmla="*/ 12652 h 104666"/>
              <a:gd name="connsiteX10" fmla="*/ 65134 w 157359"/>
              <a:gd name="connsiteY10" fmla="*/ 9777 h 104666"/>
              <a:gd name="connsiteX11" fmla="*/ 47275 w 157359"/>
              <a:gd name="connsiteY11" fmla="*/ 6901 h 104666"/>
              <a:gd name="connsiteX12" fmla="*/ 40361 w 157359"/>
              <a:gd name="connsiteY12" fmla="*/ 7476 h 104666"/>
              <a:gd name="connsiteX13" fmla="*/ 38633 w 157359"/>
              <a:gd name="connsiteY13" fmla="*/ 11502 h 104666"/>
              <a:gd name="connsiteX14" fmla="*/ 27111 w 157359"/>
              <a:gd name="connsiteY14" fmla="*/ 18978 h 104666"/>
              <a:gd name="connsiteX15" fmla="*/ 10980 w 157359"/>
              <a:gd name="connsiteY15" fmla="*/ 45432 h 104666"/>
              <a:gd name="connsiteX16" fmla="*/ 34 w 157359"/>
              <a:gd name="connsiteY16" fmla="*/ 53483 h 104666"/>
              <a:gd name="connsiteX17" fmla="*/ 6371 w 157359"/>
              <a:gd name="connsiteY17" fmla="*/ 63835 h 104666"/>
              <a:gd name="connsiteX18" fmla="*/ 12132 w 157359"/>
              <a:gd name="connsiteY18" fmla="*/ 70161 h 104666"/>
              <a:gd name="connsiteX19" fmla="*/ 14437 w 157359"/>
              <a:gd name="connsiteY19" fmla="*/ 81088 h 104666"/>
              <a:gd name="connsiteX20" fmla="*/ 34024 w 157359"/>
              <a:gd name="connsiteY20" fmla="*/ 86839 h 104666"/>
              <a:gd name="connsiteX21" fmla="*/ 35177 w 157359"/>
              <a:gd name="connsiteY21" fmla="*/ 94315 h 104666"/>
              <a:gd name="connsiteX22" fmla="*/ 44970 w 157359"/>
              <a:gd name="connsiteY22" fmla="*/ 101216 h 104666"/>
              <a:gd name="connsiteX23" fmla="*/ 63405 w 157359"/>
              <a:gd name="connsiteY23" fmla="*/ 103516 h 104666"/>
              <a:gd name="connsiteX24" fmla="*/ 81841 w 157359"/>
              <a:gd name="connsiteY24" fmla="*/ 104091 h 104666"/>
              <a:gd name="connsiteX25" fmla="*/ 94515 w 157359"/>
              <a:gd name="connsiteY25" fmla="*/ 98916 h 104666"/>
              <a:gd name="connsiteX26" fmla="*/ 115255 w 157359"/>
              <a:gd name="connsiteY26" fmla="*/ 95465 h 104666"/>
              <a:gd name="connsiteX27" fmla="*/ 129081 w 157359"/>
              <a:gd name="connsiteY27" fmla="*/ 99491 h 104666"/>
              <a:gd name="connsiteX28" fmla="*/ 139451 w 157359"/>
              <a:gd name="connsiteY28" fmla="*/ 104666 h 104666"/>
              <a:gd name="connsiteX29" fmla="*/ 139451 w 157359"/>
              <a:gd name="connsiteY29" fmla="*/ 95465 h 104666"/>
              <a:gd name="connsiteX30" fmla="*/ 148093 w 157359"/>
              <a:gd name="connsiteY30" fmla="*/ 81088 h 104666"/>
              <a:gd name="connsiteX31" fmla="*/ 157310 w 157359"/>
              <a:gd name="connsiteY31" fmla="*/ 71311 h 104666"/>
              <a:gd name="connsiteX32" fmla="*/ 157310 w 157359"/>
              <a:gd name="connsiteY32" fmla="*/ 70736 h 104666"/>
              <a:gd name="connsiteX33" fmla="*/ 150973 w 157359"/>
              <a:gd name="connsiteY33" fmla="*/ 66135 h 104666"/>
              <a:gd name="connsiteX34" fmla="*/ 141756 w 157359"/>
              <a:gd name="connsiteY34" fmla="*/ 68436 h 10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7359" h="104666">
                <a:moveTo>
                  <a:pt x="141756" y="68436"/>
                </a:moveTo>
                <a:cubicBezTo>
                  <a:pt x="138299" y="67861"/>
                  <a:pt x="133690" y="66135"/>
                  <a:pt x="134842" y="64410"/>
                </a:cubicBezTo>
                <a:cubicBezTo>
                  <a:pt x="134842" y="64410"/>
                  <a:pt x="135418" y="63835"/>
                  <a:pt x="135418" y="63835"/>
                </a:cubicBezTo>
                <a:cubicBezTo>
                  <a:pt x="130809" y="59809"/>
                  <a:pt x="129081" y="47157"/>
                  <a:pt x="132538" y="44282"/>
                </a:cubicBezTo>
                <a:cubicBezTo>
                  <a:pt x="136571" y="40256"/>
                  <a:pt x="126201" y="25304"/>
                  <a:pt x="121592" y="19553"/>
                </a:cubicBezTo>
                <a:cubicBezTo>
                  <a:pt x="119287" y="16678"/>
                  <a:pt x="114679" y="8051"/>
                  <a:pt x="110070" y="0"/>
                </a:cubicBezTo>
                <a:cubicBezTo>
                  <a:pt x="106037" y="1150"/>
                  <a:pt x="102581" y="2875"/>
                  <a:pt x="101428" y="4026"/>
                </a:cubicBezTo>
                <a:cubicBezTo>
                  <a:pt x="99700" y="6326"/>
                  <a:pt x="94515" y="9201"/>
                  <a:pt x="91635" y="9201"/>
                </a:cubicBezTo>
                <a:cubicBezTo>
                  <a:pt x="88754" y="9201"/>
                  <a:pt x="85298" y="7476"/>
                  <a:pt x="82993" y="10352"/>
                </a:cubicBezTo>
                <a:cubicBezTo>
                  <a:pt x="80113" y="12652"/>
                  <a:pt x="76656" y="13802"/>
                  <a:pt x="75504" y="12652"/>
                </a:cubicBezTo>
                <a:cubicBezTo>
                  <a:pt x="73776" y="10927"/>
                  <a:pt x="68590" y="9777"/>
                  <a:pt x="65134" y="9777"/>
                </a:cubicBezTo>
                <a:cubicBezTo>
                  <a:pt x="61677" y="9777"/>
                  <a:pt x="50155" y="6901"/>
                  <a:pt x="47275" y="6901"/>
                </a:cubicBezTo>
                <a:cubicBezTo>
                  <a:pt x="45546" y="6901"/>
                  <a:pt x="43242" y="6901"/>
                  <a:pt x="40361" y="7476"/>
                </a:cubicBezTo>
                <a:cubicBezTo>
                  <a:pt x="40938" y="8626"/>
                  <a:pt x="40361" y="9777"/>
                  <a:pt x="38633" y="11502"/>
                </a:cubicBezTo>
                <a:cubicBezTo>
                  <a:pt x="35753" y="13802"/>
                  <a:pt x="29416" y="17253"/>
                  <a:pt x="27111" y="18978"/>
                </a:cubicBezTo>
                <a:cubicBezTo>
                  <a:pt x="24807" y="20703"/>
                  <a:pt x="16741" y="39681"/>
                  <a:pt x="10980" y="45432"/>
                </a:cubicBezTo>
                <a:cubicBezTo>
                  <a:pt x="5795" y="50608"/>
                  <a:pt x="610" y="51758"/>
                  <a:pt x="34" y="53483"/>
                </a:cubicBezTo>
                <a:cubicBezTo>
                  <a:pt x="-542" y="55209"/>
                  <a:pt x="6371" y="60384"/>
                  <a:pt x="6371" y="63835"/>
                </a:cubicBezTo>
                <a:cubicBezTo>
                  <a:pt x="6371" y="66710"/>
                  <a:pt x="8100" y="70161"/>
                  <a:pt x="12132" y="70161"/>
                </a:cubicBezTo>
                <a:cubicBezTo>
                  <a:pt x="16165" y="70161"/>
                  <a:pt x="11556" y="80513"/>
                  <a:pt x="14437" y="81088"/>
                </a:cubicBezTo>
                <a:cubicBezTo>
                  <a:pt x="17317" y="81663"/>
                  <a:pt x="34024" y="82813"/>
                  <a:pt x="34024" y="86839"/>
                </a:cubicBezTo>
                <a:cubicBezTo>
                  <a:pt x="34024" y="89714"/>
                  <a:pt x="35753" y="92590"/>
                  <a:pt x="35177" y="94315"/>
                </a:cubicBezTo>
                <a:cubicBezTo>
                  <a:pt x="39785" y="94890"/>
                  <a:pt x="43242" y="101216"/>
                  <a:pt x="44970" y="101216"/>
                </a:cubicBezTo>
                <a:cubicBezTo>
                  <a:pt x="47275" y="100641"/>
                  <a:pt x="61101" y="103516"/>
                  <a:pt x="63405" y="103516"/>
                </a:cubicBezTo>
                <a:cubicBezTo>
                  <a:pt x="65710" y="102941"/>
                  <a:pt x="77808" y="103516"/>
                  <a:pt x="81841" y="104091"/>
                </a:cubicBezTo>
                <a:cubicBezTo>
                  <a:pt x="85874" y="104666"/>
                  <a:pt x="90482" y="102366"/>
                  <a:pt x="94515" y="98916"/>
                </a:cubicBezTo>
                <a:cubicBezTo>
                  <a:pt x="97972" y="95465"/>
                  <a:pt x="111222" y="94890"/>
                  <a:pt x="115255" y="95465"/>
                </a:cubicBezTo>
                <a:cubicBezTo>
                  <a:pt x="119287" y="96040"/>
                  <a:pt x="127929" y="97190"/>
                  <a:pt x="129081" y="99491"/>
                </a:cubicBezTo>
                <a:cubicBezTo>
                  <a:pt x="129657" y="100641"/>
                  <a:pt x="134842" y="102941"/>
                  <a:pt x="139451" y="104666"/>
                </a:cubicBezTo>
                <a:cubicBezTo>
                  <a:pt x="140027" y="102366"/>
                  <a:pt x="139451" y="98916"/>
                  <a:pt x="139451" y="95465"/>
                </a:cubicBezTo>
                <a:cubicBezTo>
                  <a:pt x="139451" y="90289"/>
                  <a:pt x="142908" y="81663"/>
                  <a:pt x="148093" y="81088"/>
                </a:cubicBezTo>
                <a:cubicBezTo>
                  <a:pt x="153278" y="80513"/>
                  <a:pt x="157886" y="80513"/>
                  <a:pt x="157310" y="71311"/>
                </a:cubicBezTo>
                <a:cubicBezTo>
                  <a:pt x="157310" y="70736"/>
                  <a:pt x="157310" y="70736"/>
                  <a:pt x="157310" y="70736"/>
                </a:cubicBezTo>
                <a:cubicBezTo>
                  <a:pt x="154430" y="68436"/>
                  <a:pt x="152125" y="66135"/>
                  <a:pt x="150973" y="66135"/>
                </a:cubicBezTo>
                <a:cubicBezTo>
                  <a:pt x="149245" y="64410"/>
                  <a:pt x="142908" y="68436"/>
                  <a:pt x="141756" y="6843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89" name="Freeform 298">
            <a:extLst>
              <a:ext uri="{FF2B5EF4-FFF2-40B4-BE49-F238E27FC236}">
                <a16:creationId xmlns:a16="http://schemas.microsoft.com/office/drawing/2014/main" id="{225D3062-8D0A-2F2B-72D7-0D63F6880332}"/>
              </a:ext>
            </a:extLst>
          </p:cNvPr>
          <p:cNvSpPr/>
          <p:nvPr/>
        </p:nvSpPr>
        <p:spPr>
          <a:xfrm>
            <a:off x="11923011" y="3247261"/>
            <a:ext cx="448102" cy="557010"/>
          </a:xfrm>
          <a:custGeom>
            <a:avLst/>
            <a:gdLst>
              <a:gd name="connsiteX0" fmla="*/ 39175 w 54153"/>
              <a:gd name="connsiteY0" fmla="*/ 16707 h 67314"/>
              <a:gd name="connsiteX1" fmla="*/ 26501 w 54153"/>
              <a:gd name="connsiteY1" fmla="*/ 7506 h 67314"/>
              <a:gd name="connsiteX2" fmla="*/ 12674 w 54153"/>
              <a:gd name="connsiteY2" fmla="*/ 29 h 67314"/>
              <a:gd name="connsiteX3" fmla="*/ 0 w 54153"/>
              <a:gd name="connsiteY3" fmla="*/ 3480 h 67314"/>
              <a:gd name="connsiteX4" fmla="*/ 11522 w 54153"/>
              <a:gd name="connsiteY4" fmla="*/ 23033 h 67314"/>
              <a:gd name="connsiteX5" fmla="*/ 22468 w 54153"/>
              <a:gd name="connsiteY5" fmla="*/ 47762 h 67314"/>
              <a:gd name="connsiteX6" fmla="*/ 25349 w 54153"/>
              <a:gd name="connsiteY6" fmla="*/ 67315 h 67314"/>
              <a:gd name="connsiteX7" fmla="*/ 35142 w 54153"/>
              <a:gd name="connsiteY7" fmla="*/ 51788 h 67314"/>
              <a:gd name="connsiteX8" fmla="*/ 42056 w 54153"/>
              <a:gd name="connsiteY8" fmla="*/ 44311 h 67314"/>
              <a:gd name="connsiteX9" fmla="*/ 54154 w 54153"/>
              <a:gd name="connsiteY9" fmla="*/ 46612 h 67314"/>
              <a:gd name="connsiteX10" fmla="*/ 50121 w 54153"/>
              <a:gd name="connsiteY10" fmla="*/ 35110 h 67314"/>
              <a:gd name="connsiteX11" fmla="*/ 39175 w 54153"/>
              <a:gd name="connsiteY11" fmla="*/ 16707 h 6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53" h="67314">
                <a:moveTo>
                  <a:pt x="39175" y="16707"/>
                </a:moveTo>
                <a:cubicBezTo>
                  <a:pt x="36871" y="9806"/>
                  <a:pt x="30534" y="7506"/>
                  <a:pt x="26501" y="7506"/>
                </a:cubicBezTo>
                <a:cubicBezTo>
                  <a:pt x="23044" y="7506"/>
                  <a:pt x="16707" y="-546"/>
                  <a:pt x="12674" y="29"/>
                </a:cubicBezTo>
                <a:cubicBezTo>
                  <a:pt x="10370" y="29"/>
                  <a:pt x="4609" y="1755"/>
                  <a:pt x="0" y="3480"/>
                </a:cubicBezTo>
                <a:cubicBezTo>
                  <a:pt x="4609" y="12106"/>
                  <a:pt x="9218" y="20733"/>
                  <a:pt x="11522" y="23033"/>
                </a:cubicBezTo>
                <a:cubicBezTo>
                  <a:pt x="16131" y="28784"/>
                  <a:pt x="26501" y="43736"/>
                  <a:pt x="22468" y="47762"/>
                </a:cubicBezTo>
                <a:cubicBezTo>
                  <a:pt x="19588" y="50637"/>
                  <a:pt x="20740" y="63289"/>
                  <a:pt x="25349" y="67315"/>
                </a:cubicBezTo>
                <a:cubicBezTo>
                  <a:pt x="27653" y="64439"/>
                  <a:pt x="35142" y="54663"/>
                  <a:pt x="35142" y="51788"/>
                </a:cubicBezTo>
                <a:cubicBezTo>
                  <a:pt x="35142" y="48912"/>
                  <a:pt x="35718" y="42586"/>
                  <a:pt x="42056" y="44311"/>
                </a:cubicBezTo>
                <a:cubicBezTo>
                  <a:pt x="48393" y="46037"/>
                  <a:pt x="54154" y="48337"/>
                  <a:pt x="54154" y="46612"/>
                </a:cubicBezTo>
                <a:cubicBezTo>
                  <a:pt x="54154" y="44311"/>
                  <a:pt x="52426" y="37985"/>
                  <a:pt x="50121" y="35110"/>
                </a:cubicBezTo>
                <a:cubicBezTo>
                  <a:pt x="47817" y="32234"/>
                  <a:pt x="41479" y="23608"/>
                  <a:pt x="39175" y="1670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0" name="Freeform 299">
            <a:extLst>
              <a:ext uri="{FF2B5EF4-FFF2-40B4-BE49-F238E27FC236}">
                <a16:creationId xmlns:a16="http://schemas.microsoft.com/office/drawing/2014/main" id="{27FFDBD4-F4A5-D63B-4F94-66746A05EB10}"/>
              </a:ext>
            </a:extLst>
          </p:cNvPr>
          <p:cNvSpPr/>
          <p:nvPr/>
        </p:nvSpPr>
        <p:spPr>
          <a:xfrm>
            <a:off x="11275246" y="4037458"/>
            <a:ext cx="905190" cy="499665"/>
          </a:xfrm>
          <a:custGeom>
            <a:avLst/>
            <a:gdLst>
              <a:gd name="connsiteX0" fmla="*/ 84043 w 109391"/>
              <a:gd name="connsiteY0" fmla="*/ 1150 h 60384"/>
              <a:gd name="connsiteX1" fmla="*/ 63303 w 109391"/>
              <a:gd name="connsiteY1" fmla="*/ 4601 h 60384"/>
              <a:gd name="connsiteX2" fmla="*/ 50629 w 109391"/>
              <a:gd name="connsiteY2" fmla="*/ 9777 h 60384"/>
              <a:gd name="connsiteX3" fmla="*/ 32194 w 109391"/>
              <a:gd name="connsiteY3" fmla="*/ 9201 h 60384"/>
              <a:gd name="connsiteX4" fmla="*/ 13759 w 109391"/>
              <a:gd name="connsiteY4" fmla="*/ 6901 h 60384"/>
              <a:gd name="connsiteX5" fmla="*/ 3965 w 109391"/>
              <a:gd name="connsiteY5" fmla="*/ 0 h 60384"/>
              <a:gd name="connsiteX6" fmla="*/ 2813 w 109391"/>
              <a:gd name="connsiteY6" fmla="*/ 1725 h 60384"/>
              <a:gd name="connsiteX7" fmla="*/ 2813 w 109391"/>
              <a:gd name="connsiteY7" fmla="*/ 13802 h 60384"/>
              <a:gd name="connsiteX8" fmla="*/ 7998 w 109391"/>
              <a:gd name="connsiteY8" fmla="*/ 25304 h 60384"/>
              <a:gd name="connsiteX9" fmla="*/ 2237 w 109391"/>
              <a:gd name="connsiteY9" fmla="*/ 32205 h 60384"/>
              <a:gd name="connsiteX10" fmla="*/ 2237 w 109391"/>
              <a:gd name="connsiteY10" fmla="*/ 40831 h 60384"/>
              <a:gd name="connsiteX11" fmla="*/ 12030 w 109391"/>
              <a:gd name="connsiteY11" fmla="*/ 52333 h 60384"/>
              <a:gd name="connsiteX12" fmla="*/ 15487 w 109391"/>
              <a:gd name="connsiteY12" fmla="*/ 57509 h 60384"/>
              <a:gd name="connsiteX13" fmla="*/ 39107 w 109391"/>
              <a:gd name="connsiteY13" fmla="*/ 57509 h 60384"/>
              <a:gd name="connsiteX14" fmla="*/ 57542 w 109391"/>
              <a:gd name="connsiteY14" fmla="*/ 60384 h 60384"/>
              <a:gd name="connsiteX15" fmla="*/ 64456 w 109391"/>
              <a:gd name="connsiteY15" fmla="*/ 56359 h 60384"/>
              <a:gd name="connsiteX16" fmla="*/ 73097 w 109391"/>
              <a:gd name="connsiteY16" fmla="*/ 52333 h 60384"/>
              <a:gd name="connsiteX17" fmla="*/ 73097 w 109391"/>
              <a:gd name="connsiteY17" fmla="*/ 47733 h 60384"/>
              <a:gd name="connsiteX18" fmla="*/ 90956 w 109391"/>
              <a:gd name="connsiteY18" fmla="*/ 47733 h 60384"/>
              <a:gd name="connsiteX19" fmla="*/ 97870 w 109391"/>
              <a:gd name="connsiteY19" fmla="*/ 46582 h 60384"/>
              <a:gd name="connsiteX20" fmla="*/ 95565 w 109391"/>
              <a:gd name="connsiteY20" fmla="*/ 42557 h 60384"/>
              <a:gd name="connsiteX21" fmla="*/ 92109 w 109391"/>
              <a:gd name="connsiteY21" fmla="*/ 29330 h 60384"/>
              <a:gd name="connsiteX22" fmla="*/ 105935 w 109391"/>
              <a:gd name="connsiteY22" fmla="*/ 14377 h 60384"/>
              <a:gd name="connsiteX23" fmla="*/ 109392 w 109391"/>
              <a:gd name="connsiteY23" fmla="*/ 10352 h 60384"/>
              <a:gd name="connsiteX24" fmla="*/ 99022 w 109391"/>
              <a:gd name="connsiteY24" fmla="*/ 5176 h 60384"/>
              <a:gd name="connsiteX25" fmla="*/ 84043 w 109391"/>
              <a:gd name="connsiteY25" fmla="*/ 1150 h 6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9391" h="60384">
                <a:moveTo>
                  <a:pt x="84043" y="1150"/>
                </a:moveTo>
                <a:cubicBezTo>
                  <a:pt x="80011" y="575"/>
                  <a:pt x="66760" y="1150"/>
                  <a:pt x="63303" y="4601"/>
                </a:cubicBezTo>
                <a:cubicBezTo>
                  <a:pt x="59847" y="8051"/>
                  <a:pt x="55238" y="10352"/>
                  <a:pt x="50629" y="9777"/>
                </a:cubicBezTo>
                <a:cubicBezTo>
                  <a:pt x="46596" y="9201"/>
                  <a:pt x="34498" y="8626"/>
                  <a:pt x="32194" y="9201"/>
                </a:cubicBezTo>
                <a:cubicBezTo>
                  <a:pt x="29890" y="9777"/>
                  <a:pt x="15487" y="6326"/>
                  <a:pt x="13759" y="6901"/>
                </a:cubicBezTo>
                <a:cubicBezTo>
                  <a:pt x="12030" y="7476"/>
                  <a:pt x="8574" y="1150"/>
                  <a:pt x="3965" y="0"/>
                </a:cubicBezTo>
                <a:cubicBezTo>
                  <a:pt x="3965" y="575"/>
                  <a:pt x="3389" y="1150"/>
                  <a:pt x="2813" y="1725"/>
                </a:cubicBezTo>
                <a:cubicBezTo>
                  <a:pt x="-644" y="4026"/>
                  <a:pt x="-1220" y="10352"/>
                  <a:pt x="2813" y="13802"/>
                </a:cubicBezTo>
                <a:cubicBezTo>
                  <a:pt x="6845" y="17253"/>
                  <a:pt x="12030" y="25304"/>
                  <a:pt x="7998" y="25304"/>
                </a:cubicBezTo>
                <a:cubicBezTo>
                  <a:pt x="4541" y="25304"/>
                  <a:pt x="1660" y="29905"/>
                  <a:pt x="2237" y="32205"/>
                </a:cubicBezTo>
                <a:cubicBezTo>
                  <a:pt x="2813" y="34505"/>
                  <a:pt x="1084" y="39681"/>
                  <a:pt x="2237" y="40831"/>
                </a:cubicBezTo>
                <a:cubicBezTo>
                  <a:pt x="3389" y="41982"/>
                  <a:pt x="11454" y="50033"/>
                  <a:pt x="12030" y="52333"/>
                </a:cubicBezTo>
                <a:cubicBezTo>
                  <a:pt x="12606" y="54634"/>
                  <a:pt x="15487" y="55209"/>
                  <a:pt x="15487" y="57509"/>
                </a:cubicBezTo>
                <a:cubicBezTo>
                  <a:pt x="21824" y="56934"/>
                  <a:pt x="35651" y="56359"/>
                  <a:pt x="39107" y="57509"/>
                </a:cubicBezTo>
                <a:cubicBezTo>
                  <a:pt x="43140" y="59809"/>
                  <a:pt x="57542" y="60384"/>
                  <a:pt x="57542" y="60384"/>
                </a:cubicBezTo>
                <a:cubicBezTo>
                  <a:pt x="61575" y="60384"/>
                  <a:pt x="65032" y="58659"/>
                  <a:pt x="64456" y="56359"/>
                </a:cubicBezTo>
                <a:cubicBezTo>
                  <a:pt x="63303" y="54059"/>
                  <a:pt x="69064" y="52908"/>
                  <a:pt x="73097" y="52333"/>
                </a:cubicBezTo>
                <a:cubicBezTo>
                  <a:pt x="72521" y="50033"/>
                  <a:pt x="71945" y="47733"/>
                  <a:pt x="73097" y="47733"/>
                </a:cubicBezTo>
                <a:cubicBezTo>
                  <a:pt x="74825" y="47157"/>
                  <a:pt x="86348" y="45432"/>
                  <a:pt x="90956" y="47733"/>
                </a:cubicBezTo>
                <a:cubicBezTo>
                  <a:pt x="93261" y="48883"/>
                  <a:pt x="96141" y="47733"/>
                  <a:pt x="97870" y="46582"/>
                </a:cubicBezTo>
                <a:cubicBezTo>
                  <a:pt x="97294" y="44282"/>
                  <a:pt x="96717" y="42557"/>
                  <a:pt x="95565" y="42557"/>
                </a:cubicBezTo>
                <a:cubicBezTo>
                  <a:pt x="92685" y="41982"/>
                  <a:pt x="88076" y="29905"/>
                  <a:pt x="92109" y="29330"/>
                </a:cubicBezTo>
                <a:cubicBezTo>
                  <a:pt x="95565" y="28755"/>
                  <a:pt x="100174" y="16103"/>
                  <a:pt x="105935" y="14377"/>
                </a:cubicBezTo>
                <a:cubicBezTo>
                  <a:pt x="108239" y="13802"/>
                  <a:pt x="109392" y="12077"/>
                  <a:pt x="109392" y="10352"/>
                </a:cubicBezTo>
                <a:cubicBezTo>
                  <a:pt x="104207" y="8626"/>
                  <a:pt x="99598" y="6901"/>
                  <a:pt x="99022" y="5176"/>
                </a:cubicBezTo>
                <a:cubicBezTo>
                  <a:pt x="96141" y="2875"/>
                  <a:pt x="88076" y="1725"/>
                  <a:pt x="84043" y="115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1" name="Freeform 300">
            <a:extLst>
              <a:ext uri="{FF2B5EF4-FFF2-40B4-BE49-F238E27FC236}">
                <a16:creationId xmlns:a16="http://schemas.microsoft.com/office/drawing/2014/main" id="{E2E4B289-AB37-1CC7-13FA-247E1D7E14CE}"/>
              </a:ext>
            </a:extLst>
          </p:cNvPr>
          <p:cNvSpPr/>
          <p:nvPr/>
        </p:nvSpPr>
        <p:spPr>
          <a:xfrm>
            <a:off x="11008653" y="4351535"/>
            <a:ext cx="389971" cy="280761"/>
          </a:xfrm>
          <a:custGeom>
            <a:avLst/>
            <a:gdLst>
              <a:gd name="connsiteX0" fmla="*/ 10834 w 47128"/>
              <a:gd name="connsiteY0" fmla="*/ 33930 h 33930"/>
              <a:gd name="connsiteX1" fmla="*/ 10834 w 47128"/>
              <a:gd name="connsiteY1" fmla="*/ 33930 h 33930"/>
              <a:gd name="connsiteX2" fmla="*/ 11410 w 47128"/>
              <a:gd name="connsiteY2" fmla="*/ 33355 h 33930"/>
              <a:gd name="connsiteX3" fmla="*/ 11410 w 47128"/>
              <a:gd name="connsiteY3" fmla="*/ 33355 h 33930"/>
              <a:gd name="connsiteX4" fmla="*/ 12562 w 47128"/>
              <a:gd name="connsiteY4" fmla="*/ 33355 h 33930"/>
              <a:gd name="connsiteX5" fmla="*/ 12562 w 47128"/>
              <a:gd name="connsiteY5" fmla="*/ 33355 h 33930"/>
              <a:gd name="connsiteX6" fmla="*/ 18323 w 47128"/>
              <a:gd name="connsiteY6" fmla="*/ 33355 h 33930"/>
              <a:gd name="connsiteX7" fmla="*/ 18899 w 47128"/>
              <a:gd name="connsiteY7" fmla="*/ 33355 h 33930"/>
              <a:gd name="connsiteX8" fmla="*/ 20051 w 47128"/>
              <a:gd name="connsiteY8" fmla="*/ 33355 h 33930"/>
              <a:gd name="connsiteX9" fmla="*/ 20627 w 47128"/>
              <a:gd name="connsiteY9" fmla="*/ 33355 h 33930"/>
              <a:gd name="connsiteX10" fmla="*/ 22356 w 47128"/>
              <a:gd name="connsiteY10" fmla="*/ 32780 h 33930"/>
              <a:gd name="connsiteX11" fmla="*/ 30421 w 47128"/>
              <a:gd name="connsiteY11" fmla="*/ 27604 h 33930"/>
              <a:gd name="connsiteX12" fmla="*/ 46552 w 47128"/>
              <a:gd name="connsiteY12" fmla="*/ 20128 h 33930"/>
              <a:gd name="connsiteX13" fmla="*/ 47128 w 47128"/>
              <a:gd name="connsiteY13" fmla="*/ 19553 h 33930"/>
              <a:gd name="connsiteX14" fmla="*/ 43672 w 47128"/>
              <a:gd name="connsiteY14" fmla="*/ 14377 h 33930"/>
              <a:gd name="connsiteX15" fmla="*/ 33878 w 47128"/>
              <a:gd name="connsiteY15" fmla="*/ 2875 h 33930"/>
              <a:gd name="connsiteX16" fmla="*/ 33302 w 47128"/>
              <a:gd name="connsiteY16" fmla="*/ 1725 h 33930"/>
              <a:gd name="connsiteX17" fmla="*/ 33302 w 47128"/>
              <a:gd name="connsiteY17" fmla="*/ 1725 h 33930"/>
              <a:gd name="connsiteX18" fmla="*/ 33302 w 47128"/>
              <a:gd name="connsiteY18" fmla="*/ 0 h 33930"/>
              <a:gd name="connsiteX19" fmla="*/ 3344 w 47128"/>
              <a:gd name="connsiteY19" fmla="*/ 5751 h 33930"/>
              <a:gd name="connsiteX20" fmla="*/ 2192 w 47128"/>
              <a:gd name="connsiteY20" fmla="*/ 5176 h 33930"/>
              <a:gd name="connsiteX21" fmla="*/ 464 w 47128"/>
              <a:gd name="connsiteY21" fmla="*/ 23579 h 33930"/>
              <a:gd name="connsiteX22" fmla="*/ 10834 w 47128"/>
              <a:gd name="connsiteY22" fmla="*/ 33930 h 33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128" h="33930">
                <a:moveTo>
                  <a:pt x="10834" y="33930"/>
                </a:moveTo>
                <a:lnTo>
                  <a:pt x="10834" y="33930"/>
                </a:lnTo>
                <a:cubicBezTo>
                  <a:pt x="10834" y="33930"/>
                  <a:pt x="11410" y="33930"/>
                  <a:pt x="11410" y="33355"/>
                </a:cubicBezTo>
                <a:cubicBezTo>
                  <a:pt x="11410" y="33355"/>
                  <a:pt x="11410" y="33355"/>
                  <a:pt x="11410" y="33355"/>
                </a:cubicBezTo>
                <a:cubicBezTo>
                  <a:pt x="11410" y="33355"/>
                  <a:pt x="11986" y="33355"/>
                  <a:pt x="12562" y="33355"/>
                </a:cubicBezTo>
                <a:cubicBezTo>
                  <a:pt x="12562" y="33355"/>
                  <a:pt x="12562" y="33355"/>
                  <a:pt x="12562" y="33355"/>
                </a:cubicBezTo>
                <a:cubicBezTo>
                  <a:pt x="14290" y="33355"/>
                  <a:pt x="16019" y="33355"/>
                  <a:pt x="18323" y="33355"/>
                </a:cubicBezTo>
                <a:cubicBezTo>
                  <a:pt x="18323" y="33355"/>
                  <a:pt x="18323" y="33355"/>
                  <a:pt x="18899" y="33355"/>
                </a:cubicBezTo>
                <a:cubicBezTo>
                  <a:pt x="19475" y="33355"/>
                  <a:pt x="20051" y="33355"/>
                  <a:pt x="20051" y="33355"/>
                </a:cubicBezTo>
                <a:cubicBezTo>
                  <a:pt x="20051" y="33355"/>
                  <a:pt x="20627" y="33355"/>
                  <a:pt x="20627" y="33355"/>
                </a:cubicBezTo>
                <a:cubicBezTo>
                  <a:pt x="21203" y="33355"/>
                  <a:pt x="21780" y="33355"/>
                  <a:pt x="22356" y="32780"/>
                </a:cubicBezTo>
                <a:cubicBezTo>
                  <a:pt x="26964" y="31630"/>
                  <a:pt x="28117" y="26454"/>
                  <a:pt x="30421" y="27604"/>
                </a:cubicBezTo>
                <a:cubicBezTo>
                  <a:pt x="32725" y="28755"/>
                  <a:pt x="45400" y="22428"/>
                  <a:pt x="46552" y="20128"/>
                </a:cubicBezTo>
                <a:cubicBezTo>
                  <a:pt x="46552" y="20128"/>
                  <a:pt x="47128" y="19553"/>
                  <a:pt x="47128" y="19553"/>
                </a:cubicBezTo>
                <a:cubicBezTo>
                  <a:pt x="47128" y="17828"/>
                  <a:pt x="44247" y="16678"/>
                  <a:pt x="43672" y="14377"/>
                </a:cubicBezTo>
                <a:cubicBezTo>
                  <a:pt x="43096" y="12077"/>
                  <a:pt x="35030" y="4026"/>
                  <a:pt x="33878" y="2875"/>
                </a:cubicBezTo>
                <a:cubicBezTo>
                  <a:pt x="33878" y="2875"/>
                  <a:pt x="33302" y="2300"/>
                  <a:pt x="33302" y="1725"/>
                </a:cubicBezTo>
                <a:cubicBezTo>
                  <a:pt x="33302" y="1725"/>
                  <a:pt x="33302" y="1725"/>
                  <a:pt x="33302" y="1725"/>
                </a:cubicBezTo>
                <a:cubicBezTo>
                  <a:pt x="33302" y="1150"/>
                  <a:pt x="33302" y="575"/>
                  <a:pt x="33302" y="0"/>
                </a:cubicBezTo>
                <a:cubicBezTo>
                  <a:pt x="21203" y="1725"/>
                  <a:pt x="3344" y="5751"/>
                  <a:pt x="3344" y="5751"/>
                </a:cubicBezTo>
                <a:cubicBezTo>
                  <a:pt x="3344" y="5751"/>
                  <a:pt x="2768" y="5176"/>
                  <a:pt x="2192" y="5176"/>
                </a:cubicBezTo>
                <a:cubicBezTo>
                  <a:pt x="464" y="10927"/>
                  <a:pt x="-688" y="18978"/>
                  <a:pt x="464" y="23579"/>
                </a:cubicBezTo>
                <a:cubicBezTo>
                  <a:pt x="1616" y="27029"/>
                  <a:pt x="5073" y="29905"/>
                  <a:pt x="10834" y="3393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2" name="Freeform 301">
            <a:extLst>
              <a:ext uri="{FF2B5EF4-FFF2-40B4-BE49-F238E27FC236}">
                <a16:creationId xmlns:a16="http://schemas.microsoft.com/office/drawing/2014/main" id="{2D4F4146-EF94-69C6-E98A-8E43B2D4E1C7}"/>
              </a:ext>
            </a:extLst>
          </p:cNvPr>
          <p:cNvSpPr/>
          <p:nvPr/>
        </p:nvSpPr>
        <p:spPr>
          <a:xfrm>
            <a:off x="11269917" y="2503954"/>
            <a:ext cx="2574241" cy="1475404"/>
          </a:xfrm>
          <a:custGeom>
            <a:avLst/>
            <a:gdLst>
              <a:gd name="connsiteX0" fmla="*/ 276529 w 311095"/>
              <a:gd name="connsiteY0" fmla="*/ 112286 h 178301"/>
              <a:gd name="connsiteX1" fmla="*/ 290356 w 311095"/>
              <a:gd name="connsiteY1" fmla="*/ 103085 h 178301"/>
              <a:gd name="connsiteX2" fmla="*/ 304758 w 311095"/>
              <a:gd name="connsiteY2" fmla="*/ 103660 h 178301"/>
              <a:gd name="connsiteX3" fmla="*/ 307639 w 311095"/>
              <a:gd name="connsiteY3" fmla="*/ 93308 h 178301"/>
              <a:gd name="connsiteX4" fmla="*/ 303606 w 311095"/>
              <a:gd name="connsiteY4" fmla="*/ 86982 h 178301"/>
              <a:gd name="connsiteX5" fmla="*/ 309943 w 311095"/>
              <a:gd name="connsiteY5" fmla="*/ 82956 h 178301"/>
              <a:gd name="connsiteX6" fmla="*/ 305910 w 311095"/>
              <a:gd name="connsiteY6" fmla="*/ 77781 h 178301"/>
              <a:gd name="connsiteX7" fmla="*/ 311095 w 311095"/>
              <a:gd name="connsiteY7" fmla="*/ 70304 h 178301"/>
              <a:gd name="connsiteX8" fmla="*/ 300725 w 311095"/>
              <a:gd name="connsiteY8" fmla="*/ 63978 h 178301"/>
              <a:gd name="connsiteX9" fmla="*/ 285747 w 311095"/>
              <a:gd name="connsiteY9" fmla="*/ 59953 h 178301"/>
              <a:gd name="connsiteX10" fmla="*/ 271344 w 311095"/>
              <a:gd name="connsiteY10" fmla="*/ 57652 h 178301"/>
              <a:gd name="connsiteX11" fmla="*/ 263855 w 311095"/>
              <a:gd name="connsiteY11" fmla="*/ 48451 h 178301"/>
              <a:gd name="connsiteX12" fmla="*/ 254061 w 311095"/>
              <a:gd name="connsiteY12" fmla="*/ 49026 h 178301"/>
              <a:gd name="connsiteX13" fmla="*/ 244844 w 311095"/>
              <a:gd name="connsiteY13" fmla="*/ 49601 h 178301"/>
              <a:gd name="connsiteX14" fmla="*/ 236202 w 311095"/>
              <a:gd name="connsiteY14" fmla="*/ 45576 h 178301"/>
              <a:gd name="connsiteX15" fmla="*/ 229865 w 311095"/>
              <a:gd name="connsiteY15" fmla="*/ 42125 h 178301"/>
              <a:gd name="connsiteX16" fmla="*/ 222376 w 311095"/>
              <a:gd name="connsiteY16" fmla="*/ 28323 h 178301"/>
              <a:gd name="connsiteX17" fmla="*/ 209701 w 311095"/>
              <a:gd name="connsiteY17" fmla="*/ 25447 h 178301"/>
              <a:gd name="connsiteX18" fmla="*/ 205668 w 311095"/>
              <a:gd name="connsiteY18" fmla="*/ 15671 h 178301"/>
              <a:gd name="connsiteX19" fmla="*/ 203364 w 311095"/>
              <a:gd name="connsiteY19" fmla="*/ 2444 h 178301"/>
              <a:gd name="connsiteX20" fmla="*/ 188962 w 311095"/>
              <a:gd name="connsiteY20" fmla="*/ 719 h 178301"/>
              <a:gd name="connsiteX21" fmla="*/ 177440 w 311095"/>
              <a:gd name="connsiteY21" fmla="*/ 1294 h 178301"/>
              <a:gd name="connsiteX22" fmla="*/ 169374 w 311095"/>
              <a:gd name="connsiteY22" fmla="*/ 5319 h 178301"/>
              <a:gd name="connsiteX23" fmla="*/ 164765 w 311095"/>
              <a:gd name="connsiteY23" fmla="*/ 3594 h 178301"/>
              <a:gd name="connsiteX24" fmla="*/ 153243 w 311095"/>
              <a:gd name="connsiteY24" fmla="*/ 5894 h 178301"/>
              <a:gd name="connsiteX25" fmla="*/ 142873 w 311095"/>
              <a:gd name="connsiteY25" fmla="*/ 17396 h 178301"/>
              <a:gd name="connsiteX26" fmla="*/ 139993 w 311095"/>
              <a:gd name="connsiteY26" fmla="*/ 23147 h 178301"/>
              <a:gd name="connsiteX27" fmla="*/ 123862 w 311095"/>
              <a:gd name="connsiteY27" fmla="*/ 21997 h 178301"/>
              <a:gd name="connsiteX28" fmla="*/ 112340 w 311095"/>
              <a:gd name="connsiteY28" fmla="*/ 18546 h 178301"/>
              <a:gd name="connsiteX29" fmla="*/ 100818 w 311095"/>
              <a:gd name="connsiteY29" fmla="*/ 17396 h 178301"/>
              <a:gd name="connsiteX30" fmla="*/ 88720 w 311095"/>
              <a:gd name="connsiteY30" fmla="*/ 15671 h 178301"/>
              <a:gd name="connsiteX31" fmla="*/ 72589 w 311095"/>
              <a:gd name="connsiteY31" fmla="*/ 12795 h 178301"/>
              <a:gd name="connsiteX32" fmla="*/ 42631 w 311095"/>
              <a:gd name="connsiteY32" fmla="*/ 9345 h 178301"/>
              <a:gd name="connsiteX33" fmla="*/ 31109 w 311095"/>
              <a:gd name="connsiteY33" fmla="*/ 16246 h 178301"/>
              <a:gd name="connsiteX34" fmla="*/ 21892 w 311095"/>
              <a:gd name="connsiteY34" fmla="*/ 18546 h 178301"/>
              <a:gd name="connsiteX35" fmla="*/ 23620 w 311095"/>
              <a:gd name="connsiteY35" fmla="*/ 24297 h 178301"/>
              <a:gd name="connsiteX36" fmla="*/ 30533 w 311095"/>
              <a:gd name="connsiteY36" fmla="*/ 41550 h 178301"/>
              <a:gd name="connsiteX37" fmla="*/ 23044 w 311095"/>
              <a:gd name="connsiteY37" fmla="*/ 47876 h 178301"/>
              <a:gd name="connsiteX38" fmla="*/ 6913 w 311095"/>
              <a:gd name="connsiteY38" fmla="*/ 64554 h 178301"/>
              <a:gd name="connsiteX39" fmla="*/ 7489 w 311095"/>
              <a:gd name="connsiteY39" fmla="*/ 76630 h 178301"/>
              <a:gd name="connsiteX40" fmla="*/ 0 w 311095"/>
              <a:gd name="connsiteY40" fmla="*/ 89282 h 178301"/>
              <a:gd name="connsiteX41" fmla="*/ 7489 w 311095"/>
              <a:gd name="connsiteY41" fmla="*/ 97909 h 178301"/>
              <a:gd name="connsiteX42" fmla="*/ 10370 w 311095"/>
              <a:gd name="connsiteY42" fmla="*/ 100209 h 178301"/>
              <a:gd name="connsiteX43" fmla="*/ 17283 w 311095"/>
              <a:gd name="connsiteY43" fmla="*/ 99634 h 178301"/>
              <a:gd name="connsiteX44" fmla="*/ 35142 w 311095"/>
              <a:gd name="connsiteY44" fmla="*/ 102510 h 178301"/>
              <a:gd name="connsiteX45" fmla="*/ 45512 w 311095"/>
              <a:gd name="connsiteY45" fmla="*/ 105385 h 178301"/>
              <a:gd name="connsiteX46" fmla="*/ 53001 w 311095"/>
              <a:gd name="connsiteY46" fmla="*/ 103085 h 178301"/>
              <a:gd name="connsiteX47" fmla="*/ 61643 w 311095"/>
              <a:gd name="connsiteY47" fmla="*/ 101934 h 178301"/>
              <a:gd name="connsiteX48" fmla="*/ 71437 w 311095"/>
              <a:gd name="connsiteY48" fmla="*/ 96759 h 178301"/>
              <a:gd name="connsiteX49" fmla="*/ 92752 w 311095"/>
              <a:gd name="connsiteY49" fmla="*/ 89282 h 178301"/>
              <a:gd name="connsiteX50" fmla="*/ 106579 w 311095"/>
              <a:gd name="connsiteY50" fmla="*/ 96759 h 178301"/>
              <a:gd name="connsiteX51" fmla="*/ 119253 w 311095"/>
              <a:gd name="connsiteY51" fmla="*/ 105960 h 178301"/>
              <a:gd name="connsiteX52" fmla="*/ 130199 w 311095"/>
              <a:gd name="connsiteY52" fmla="*/ 123788 h 178301"/>
              <a:gd name="connsiteX53" fmla="*/ 134232 w 311095"/>
              <a:gd name="connsiteY53" fmla="*/ 135290 h 178301"/>
              <a:gd name="connsiteX54" fmla="*/ 122133 w 311095"/>
              <a:gd name="connsiteY54" fmla="*/ 132989 h 178301"/>
              <a:gd name="connsiteX55" fmla="*/ 115221 w 311095"/>
              <a:gd name="connsiteY55" fmla="*/ 140465 h 178301"/>
              <a:gd name="connsiteX56" fmla="*/ 104850 w 311095"/>
              <a:gd name="connsiteY56" fmla="*/ 156568 h 178301"/>
              <a:gd name="connsiteX57" fmla="*/ 111764 w 311095"/>
              <a:gd name="connsiteY57" fmla="*/ 160594 h 178301"/>
              <a:gd name="connsiteX58" fmla="*/ 121558 w 311095"/>
              <a:gd name="connsiteY58" fmla="*/ 156568 h 178301"/>
              <a:gd name="connsiteX59" fmla="*/ 127895 w 311095"/>
              <a:gd name="connsiteY59" fmla="*/ 161169 h 178301"/>
              <a:gd name="connsiteX60" fmla="*/ 135960 w 311095"/>
              <a:gd name="connsiteY60" fmla="*/ 147942 h 178301"/>
              <a:gd name="connsiteX61" fmla="*/ 150939 w 311095"/>
              <a:gd name="connsiteY61" fmla="*/ 130114 h 178301"/>
              <a:gd name="connsiteX62" fmla="*/ 170526 w 311095"/>
              <a:gd name="connsiteY62" fmla="*/ 127238 h 178301"/>
              <a:gd name="connsiteX63" fmla="*/ 172255 w 311095"/>
              <a:gd name="connsiteY63" fmla="*/ 138740 h 178301"/>
              <a:gd name="connsiteX64" fmla="*/ 201060 w 311095"/>
              <a:gd name="connsiteY64" fmla="*/ 142766 h 178301"/>
              <a:gd name="connsiteX65" fmla="*/ 178016 w 311095"/>
              <a:gd name="connsiteY65" fmla="*/ 155993 h 178301"/>
              <a:gd name="connsiteX66" fmla="*/ 195875 w 311095"/>
              <a:gd name="connsiteY66" fmla="*/ 164044 h 178301"/>
              <a:gd name="connsiteX67" fmla="*/ 196451 w 311095"/>
              <a:gd name="connsiteY67" fmla="*/ 177271 h 178301"/>
              <a:gd name="connsiteX68" fmla="*/ 210853 w 311095"/>
              <a:gd name="connsiteY68" fmla="*/ 173821 h 178301"/>
              <a:gd name="connsiteX69" fmla="*/ 227561 w 311095"/>
              <a:gd name="connsiteY69" fmla="*/ 166345 h 178301"/>
              <a:gd name="connsiteX70" fmla="*/ 250605 w 311095"/>
              <a:gd name="connsiteY70" fmla="*/ 162894 h 178301"/>
              <a:gd name="connsiteX71" fmla="*/ 232745 w 311095"/>
              <a:gd name="connsiteY71" fmla="*/ 158293 h 178301"/>
              <a:gd name="connsiteX72" fmla="*/ 218343 w 311095"/>
              <a:gd name="connsiteY72" fmla="*/ 143916 h 178301"/>
              <a:gd name="connsiteX73" fmla="*/ 240235 w 311095"/>
              <a:gd name="connsiteY73" fmla="*/ 130114 h 178301"/>
              <a:gd name="connsiteX74" fmla="*/ 262703 w 311095"/>
              <a:gd name="connsiteY74" fmla="*/ 123213 h 178301"/>
              <a:gd name="connsiteX75" fmla="*/ 277105 w 311095"/>
              <a:gd name="connsiteY75" fmla="*/ 119187 h 178301"/>
              <a:gd name="connsiteX76" fmla="*/ 276529 w 311095"/>
              <a:gd name="connsiteY76" fmla="*/ 112286 h 178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1095" h="178301">
                <a:moveTo>
                  <a:pt x="276529" y="112286"/>
                </a:moveTo>
                <a:cubicBezTo>
                  <a:pt x="279410" y="111711"/>
                  <a:pt x="287475" y="103085"/>
                  <a:pt x="290356" y="103085"/>
                </a:cubicBezTo>
                <a:cubicBezTo>
                  <a:pt x="293236" y="103085"/>
                  <a:pt x="304758" y="105385"/>
                  <a:pt x="304758" y="103660"/>
                </a:cubicBezTo>
                <a:cubicBezTo>
                  <a:pt x="304758" y="101934"/>
                  <a:pt x="308791" y="95033"/>
                  <a:pt x="307639" y="93308"/>
                </a:cubicBezTo>
                <a:cubicBezTo>
                  <a:pt x="307063" y="91583"/>
                  <a:pt x="303030" y="88707"/>
                  <a:pt x="303606" y="86982"/>
                </a:cubicBezTo>
                <a:cubicBezTo>
                  <a:pt x="304182" y="85257"/>
                  <a:pt x="309943" y="85257"/>
                  <a:pt x="309943" y="82956"/>
                </a:cubicBezTo>
                <a:cubicBezTo>
                  <a:pt x="309943" y="80656"/>
                  <a:pt x="305910" y="79506"/>
                  <a:pt x="305910" y="77781"/>
                </a:cubicBezTo>
                <a:cubicBezTo>
                  <a:pt x="305910" y="76055"/>
                  <a:pt x="311095" y="73755"/>
                  <a:pt x="311095" y="70304"/>
                </a:cubicBezTo>
                <a:cubicBezTo>
                  <a:pt x="310519" y="67429"/>
                  <a:pt x="305910" y="66854"/>
                  <a:pt x="300725" y="63978"/>
                </a:cubicBezTo>
                <a:cubicBezTo>
                  <a:pt x="295541" y="61103"/>
                  <a:pt x="290356" y="62253"/>
                  <a:pt x="285747" y="59953"/>
                </a:cubicBezTo>
                <a:cubicBezTo>
                  <a:pt x="281138" y="57652"/>
                  <a:pt x="271344" y="59378"/>
                  <a:pt x="271344" y="57652"/>
                </a:cubicBezTo>
                <a:cubicBezTo>
                  <a:pt x="271344" y="55927"/>
                  <a:pt x="265007" y="51327"/>
                  <a:pt x="263855" y="48451"/>
                </a:cubicBezTo>
                <a:cubicBezTo>
                  <a:pt x="262127" y="45576"/>
                  <a:pt x="257518" y="47301"/>
                  <a:pt x="254061" y="49026"/>
                </a:cubicBezTo>
                <a:cubicBezTo>
                  <a:pt x="251181" y="50751"/>
                  <a:pt x="248300" y="51902"/>
                  <a:pt x="244844" y="49601"/>
                </a:cubicBezTo>
                <a:cubicBezTo>
                  <a:pt x="241963" y="47876"/>
                  <a:pt x="239083" y="44425"/>
                  <a:pt x="236202" y="45576"/>
                </a:cubicBezTo>
                <a:cubicBezTo>
                  <a:pt x="233322" y="46726"/>
                  <a:pt x="228137" y="46151"/>
                  <a:pt x="229865" y="42125"/>
                </a:cubicBezTo>
                <a:cubicBezTo>
                  <a:pt x="231017" y="38099"/>
                  <a:pt x="224680" y="29473"/>
                  <a:pt x="222376" y="28323"/>
                </a:cubicBezTo>
                <a:cubicBezTo>
                  <a:pt x="219495" y="27173"/>
                  <a:pt x="211429" y="28898"/>
                  <a:pt x="209701" y="25447"/>
                </a:cubicBezTo>
                <a:cubicBezTo>
                  <a:pt x="207973" y="21422"/>
                  <a:pt x="204516" y="18546"/>
                  <a:pt x="205668" y="15671"/>
                </a:cubicBezTo>
                <a:cubicBezTo>
                  <a:pt x="207397" y="12795"/>
                  <a:pt x="205092" y="5319"/>
                  <a:pt x="203364" y="2444"/>
                </a:cubicBezTo>
                <a:cubicBezTo>
                  <a:pt x="201636" y="-432"/>
                  <a:pt x="191842" y="-432"/>
                  <a:pt x="188962" y="719"/>
                </a:cubicBezTo>
                <a:cubicBezTo>
                  <a:pt x="186081" y="1869"/>
                  <a:pt x="179744" y="-432"/>
                  <a:pt x="177440" y="1294"/>
                </a:cubicBezTo>
                <a:cubicBezTo>
                  <a:pt x="174559" y="3019"/>
                  <a:pt x="173407" y="5319"/>
                  <a:pt x="169374" y="5319"/>
                </a:cubicBezTo>
                <a:cubicBezTo>
                  <a:pt x="167070" y="5319"/>
                  <a:pt x="165918" y="5319"/>
                  <a:pt x="164765" y="3594"/>
                </a:cubicBezTo>
                <a:cubicBezTo>
                  <a:pt x="160732" y="5319"/>
                  <a:pt x="153243" y="5894"/>
                  <a:pt x="153243" y="5894"/>
                </a:cubicBezTo>
                <a:cubicBezTo>
                  <a:pt x="153243" y="5894"/>
                  <a:pt x="142873" y="13946"/>
                  <a:pt x="142873" y="17396"/>
                </a:cubicBezTo>
                <a:cubicBezTo>
                  <a:pt x="142873" y="20272"/>
                  <a:pt x="142297" y="25447"/>
                  <a:pt x="139993" y="23147"/>
                </a:cubicBezTo>
                <a:cubicBezTo>
                  <a:pt x="137688" y="20272"/>
                  <a:pt x="126743" y="20272"/>
                  <a:pt x="123862" y="21997"/>
                </a:cubicBezTo>
                <a:cubicBezTo>
                  <a:pt x="120982" y="23722"/>
                  <a:pt x="116949" y="15671"/>
                  <a:pt x="112340" y="18546"/>
                </a:cubicBezTo>
                <a:cubicBezTo>
                  <a:pt x="107731" y="20847"/>
                  <a:pt x="101394" y="15096"/>
                  <a:pt x="100818" y="17396"/>
                </a:cubicBezTo>
                <a:cubicBezTo>
                  <a:pt x="100242" y="20272"/>
                  <a:pt x="93328" y="17971"/>
                  <a:pt x="88720" y="15671"/>
                </a:cubicBezTo>
                <a:cubicBezTo>
                  <a:pt x="84111" y="13371"/>
                  <a:pt x="76045" y="16821"/>
                  <a:pt x="72589" y="12795"/>
                </a:cubicBezTo>
                <a:cubicBezTo>
                  <a:pt x="69708" y="9345"/>
                  <a:pt x="49545" y="9345"/>
                  <a:pt x="42631" y="9345"/>
                </a:cubicBezTo>
                <a:cubicBezTo>
                  <a:pt x="35718" y="9345"/>
                  <a:pt x="34566" y="12795"/>
                  <a:pt x="31109" y="16246"/>
                </a:cubicBezTo>
                <a:cubicBezTo>
                  <a:pt x="28229" y="19121"/>
                  <a:pt x="24772" y="18546"/>
                  <a:pt x="21892" y="18546"/>
                </a:cubicBezTo>
                <a:cubicBezTo>
                  <a:pt x="22468" y="21422"/>
                  <a:pt x="22468" y="23722"/>
                  <a:pt x="23620" y="24297"/>
                </a:cubicBezTo>
                <a:cubicBezTo>
                  <a:pt x="25348" y="26598"/>
                  <a:pt x="32838" y="38099"/>
                  <a:pt x="30533" y="41550"/>
                </a:cubicBezTo>
                <a:cubicBezTo>
                  <a:pt x="28805" y="45000"/>
                  <a:pt x="25348" y="45000"/>
                  <a:pt x="23044" y="47876"/>
                </a:cubicBezTo>
                <a:cubicBezTo>
                  <a:pt x="20740" y="50751"/>
                  <a:pt x="6913" y="62828"/>
                  <a:pt x="6913" y="64554"/>
                </a:cubicBezTo>
                <a:cubicBezTo>
                  <a:pt x="6337" y="66279"/>
                  <a:pt x="9218" y="74905"/>
                  <a:pt x="7489" y="76630"/>
                </a:cubicBezTo>
                <a:cubicBezTo>
                  <a:pt x="5761" y="78356"/>
                  <a:pt x="0" y="86407"/>
                  <a:pt x="0" y="89282"/>
                </a:cubicBezTo>
                <a:cubicBezTo>
                  <a:pt x="0" y="92158"/>
                  <a:pt x="4032" y="96759"/>
                  <a:pt x="7489" y="97909"/>
                </a:cubicBezTo>
                <a:cubicBezTo>
                  <a:pt x="9218" y="98484"/>
                  <a:pt x="9793" y="99059"/>
                  <a:pt x="10370" y="100209"/>
                </a:cubicBezTo>
                <a:cubicBezTo>
                  <a:pt x="13250" y="99634"/>
                  <a:pt x="15554" y="99634"/>
                  <a:pt x="17283" y="99634"/>
                </a:cubicBezTo>
                <a:cubicBezTo>
                  <a:pt x="20164" y="99634"/>
                  <a:pt x="31109" y="102510"/>
                  <a:pt x="35142" y="102510"/>
                </a:cubicBezTo>
                <a:cubicBezTo>
                  <a:pt x="38599" y="102510"/>
                  <a:pt x="43784" y="104235"/>
                  <a:pt x="45512" y="105385"/>
                </a:cubicBezTo>
                <a:cubicBezTo>
                  <a:pt x="47240" y="107110"/>
                  <a:pt x="50697" y="105960"/>
                  <a:pt x="53001" y="103085"/>
                </a:cubicBezTo>
                <a:cubicBezTo>
                  <a:pt x="55882" y="100784"/>
                  <a:pt x="58762" y="101934"/>
                  <a:pt x="61643" y="101934"/>
                </a:cubicBezTo>
                <a:cubicBezTo>
                  <a:pt x="64523" y="101934"/>
                  <a:pt x="69708" y="99059"/>
                  <a:pt x="71437" y="96759"/>
                </a:cubicBezTo>
                <a:cubicBezTo>
                  <a:pt x="73165" y="94458"/>
                  <a:pt x="88720" y="89858"/>
                  <a:pt x="92752" y="89282"/>
                </a:cubicBezTo>
                <a:cubicBezTo>
                  <a:pt x="96785" y="88707"/>
                  <a:pt x="103122" y="96759"/>
                  <a:pt x="106579" y="96759"/>
                </a:cubicBezTo>
                <a:cubicBezTo>
                  <a:pt x="110035" y="96759"/>
                  <a:pt x="116949" y="99634"/>
                  <a:pt x="119253" y="105960"/>
                </a:cubicBezTo>
                <a:cubicBezTo>
                  <a:pt x="121558" y="112861"/>
                  <a:pt x="127319" y="120912"/>
                  <a:pt x="130199" y="123788"/>
                </a:cubicBezTo>
                <a:cubicBezTo>
                  <a:pt x="132504" y="126663"/>
                  <a:pt x="134232" y="132989"/>
                  <a:pt x="134232" y="135290"/>
                </a:cubicBezTo>
                <a:cubicBezTo>
                  <a:pt x="134232" y="137590"/>
                  <a:pt x="128471" y="134715"/>
                  <a:pt x="122133" y="132989"/>
                </a:cubicBezTo>
                <a:cubicBezTo>
                  <a:pt x="115797" y="131264"/>
                  <a:pt x="115221" y="137590"/>
                  <a:pt x="115221" y="140465"/>
                </a:cubicBezTo>
                <a:cubicBezTo>
                  <a:pt x="115221" y="143341"/>
                  <a:pt x="106579" y="154268"/>
                  <a:pt x="104850" y="156568"/>
                </a:cubicBezTo>
                <a:cubicBezTo>
                  <a:pt x="103122" y="158868"/>
                  <a:pt x="107731" y="160019"/>
                  <a:pt x="111764" y="160594"/>
                </a:cubicBezTo>
                <a:cubicBezTo>
                  <a:pt x="113492" y="160594"/>
                  <a:pt x="119253" y="156568"/>
                  <a:pt x="121558" y="156568"/>
                </a:cubicBezTo>
                <a:cubicBezTo>
                  <a:pt x="122133" y="156568"/>
                  <a:pt x="125014" y="158293"/>
                  <a:pt x="127895" y="161169"/>
                </a:cubicBezTo>
                <a:cubicBezTo>
                  <a:pt x="127319" y="153117"/>
                  <a:pt x="129047" y="153693"/>
                  <a:pt x="135960" y="147942"/>
                </a:cubicBezTo>
                <a:cubicBezTo>
                  <a:pt x="143449" y="142191"/>
                  <a:pt x="144026" y="131839"/>
                  <a:pt x="150939" y="130114"/>
                </a:cubicBezTo>
                <a:cubicBezTo>
                  <a:pt x="157852" y="128964"/>
                  <a:pt x="160732" y="125513"/>
                  <a:pt x="170526" y="127238"/>
                </a:cubicBezTo>
                <a:cubicBezTo>
                  <a:pt x="180320" y="128964"/>
                  <a:pt x="165341" y="134715"/>
                  <a:pt x="172255" y="138740"/>
                </a:cubicBezTo>
                <a:cubicBezTo>
                  <a:pt x="179168" y="142191"/>
                  <a:pt x="199907" y="137590"/>
                  <a:pt x="201060" y="142766"/>
                </a:cubicBezTo>
                <a:cubicBezTo>
                  <a:pt x="202212" y="147942"/>
                  <a:pt x="177440" y="153117"/>
                  <a:pt x="178016" y="155993"/>
                </a:cubicBezTo>
                <a:cubicBezTo>
                  <a:pt x="178592" y="158293"/>
                  <a:pt x="191266" y="161169"/>
                  <a:pt x="195875" y="164044"/>
                </a:cubicBezTo>
                <a:cubicBezTo>
                  <a:pt x="200484" y="166920"/>
                  <a:pt x="194723" y="174971"/>
                  <a:pt x="196451" y="177271"/>
                </a:cubicBezTo>
                <a:cubicBezTo>
                  <a:pt x="198755" y="179572"/>
                  <a:pt x="205092" y="177846"/>
                  <a:pt x="210853" y="173821"/>
                </a:cubicBezTo>
                <a:cubicBezTo>
                  <a:pt x="216039" y="169795"/>
                  <a:pt x="220647" y="170945"/>
                  <a:pt x="227561" y="166345"/>
                </a:cubicBezTo>
                <a:cubicBezTo>
                  <a:pt x="234474" y="161744"/>
                  <a:pt x="248876" y="165769"/>
                  <a:pt x="250605" y="162894"/>
                </a:cubicBezTo>
                <a:cubicBezTo>
                  <a:pt x="252333" y="160019"/>
                  <a:pt x="246572" y="157143"/>
                  <a:pt x="232745" y="158293"/>
                </a:cubicBezTo>
                <a:cubicBezTo>
                  <a:pt x="219495" y="159443"/>
                  <a:pt x="218343" y="146791"/>
                  <a:pt x="218343" y="143916"/>
                </a:cubicBezTo>
                <a:cubicBezTo>
                  <a:pt x="218343" y="141616"/>
                  <a:pt x="232169" y="130689"/>
                  <a:pt x="240235" y="130114"/>
                </a:cubicBezTo>
                <a:cubicBezTo>
                  <a:pt x="248300" y="129539"/>
                  <a:pt x="254637" y="127238"/>
                  <a:pt x="262703" y="123213"/>
                </a:cubicBezTo>
                <a:cubicBezTo>
                  <a:pt x="265583" y="121488"/>
                  <a:pt x="271344" y="120337"/>
                  <a:pt x="277105" y="119187"/>
                </a:cubicBezTo>
                <a:cubicBezTo>
                  <a:pt x="275377" y="116887"/>
                  <a:pt x="274225" y="112861"/>
                  <a:pt x="276529" y="112286"/>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3" name="Freeform 302">
            <a:extLst>
              <a:ext uri="{FF2B5EF4-FFF2-40B4-BE49-F238E27FC236}">
                <a16:creationId xmlns:a16="http://schemas.microsoft.com/office/drawing/2014/main" id="{CCD4FD8E-0DD7-9F2F-D2C8-855391E794D7}"/>
              </a:ext>
            </a:extLst>
          </p:cNvPr>
          <p:cNvSpPr/>
          <p:nvPr/>
        </p:nvSpPr>
        <p:spPr>
          <a:xfrm>
            <a:off x="11403390" y="1734227"/>
            <a:ext cx="1358933" cy="966009"/>
          </a:xfrm>
          <a:custGeom>
            <a:avLst/>
            <a:gdLst>
              <a:gd name="connsiteX0" fmla="*/ 154395 w 164226"/>
              <a:gd name="connsiteY0" fmla="*/ 58084 h 116741"/>
              <a:gd name="connsiteX1" fmla="*/ 144026 w 164226"/>
              <a:gd name="connsiteY1" fmla="*/ 48308 h 116741"/>
              <a:gd name="connsiteX2" fmla="*/ 135960 w 164226"/>
              <a:gd name="connsiteY2" fmla="*/ 37381 h 116741"/>
              <a:gd name="connsiteX3" fmla="*/ 134232 w 164226"/>
              <a:gd name="connsiteY3" fmla="*/ 24729 h 116741"/>
              <a:gd name="connsiteX4" fmla="*/ 132504 w 164226"/>
              <a:gd name="connsiteY4" fmla="*/ 12652 h 116741"/>
              <a:gd name="connsiteX5" fmla="*/ 116373 w 164226"/>
              <a:gd name="connsiteY5" fmla="*/ 8051 h 116741"/>
              <a:gd name="connsiteX6" fmla="*/ 107155 w 164226"/>
              <a:gd name="connsiteY6" fmla="*/ 8051 h 116741"/>
              <a:gd name="connsiteX7" fmla="*/ 98513 w 164226"/>
              <a:gd name="connsiteY7" fmla="*/ 4026 h 116741"/>
              <a:gd name="connsiteX8" fmla="*/ 89296 w 164226"/>
              <a:gd name="connsiteY8" fmla="*/ 1150 h 116741"/>
              <a:gd name="connsiteX9" fmla="*/ 88144 w 164226"/>
              <a:gd name="connsiteY9" fmla="*/ 0 h 116741"/>
              <a:gd name="connsiteX10" fmla="*/ 82959 w 164226"/>
              <a:gd name="connsiteY10" fmla="*/ 2300 h 116741"/>
              <a:gd name="connsiteX11" fmla="*/ 76046 w 164226"/>
              <a:gd name="connsiteY11" fmla="*/ 8626 h 116741"/>
              <a:gd name="connsiteX12" fmla="*/ 63947 w 164226"/>
              <a:gd name="connsiteY12" fmla="*/ 10352 h 116741"/>
              <a:gd name="connsiteX13" fmla="*/ 59339 w 164226"/>
              <a:gd name="connsiteY13" fmla="*/ 19553 h 116741"/>
              <a:gd name="connsiteX14" fmla="*/ 57034 w 164226"/>
              <a:gd name="connsiteY14" fmla="*/ 26454 h 116741"/>
              <a:gd name="connsiteX15" fmla="*/ 51273 w 164226"/>
              <a:gd name="connsiteY15" fmla="*/ 31055 h 116741"/>
              <a:gd name="connsiteX16" fmla="*/ 42631 w 164226"/>
              <a:gd name="connsiteY16" fmla="*/ 39106 h 116741"/>
              <a:gd name="connsiteX17" fmla="*/ 39751 w 164226"/>
              <a:gd name="connsiteY17" fmla="*/ 47157 h 116741"/>
              <a:gd name="connsiteX18" fmla="*/ 28229 w 164226"/>
              <a:gd name="connsiteY18" fmla="*/ 50608 h 116741"/>
              <a:gd name="connsiteX19" fmla="*/ 19587 w 164226"/>
              <a:gd name="connsiteY19" fmla="*/ 54634 h 116741"/>
              <a:gd name="connsiteX20" fmla="*/ 6913 w 164226"/>
              <a:gd name="connsiteY20" fmla="*/ 53483 h 116741"/>
              <a:gd name="connsiteX21" fmla="*/ 6913 w 164226"/>
              <a:gd name="connsiteY21" fmla="*/ 55209 h 116741"/>
              <a:gd name="connsiteX22" fmla="*/ 9794 w 164226"/>
              <a:gd name="connsiteY22" fmla="*/ 68436 h 116741"/>
              <a:gd name="connsiteX23" fmla="*/ 10370 w 164226"/>
              <a:gd name="connsiteY23" fmla="*/ 83388 h 116741"/>
              <a:gd name="connsiteX24" fmla="*/ 0 w 164226"/>
              <a:gd name="connsiteY24" fmla="*/ 92590 h 116741"/>
              <a:gd name="connsiteX25" fmla="*/ 5761 w 164226"/>
              <a:gd name="connsiteY25" fmla="*/ 101791 h 116741"/>
              <a:gd name="connsiteX26" fmla="*/ 5185 w 164226"/>
              <a:gd name="connsiteY26" fmla="*/ 111567 h 116741"/>
              <a:gd name="connsiteX27" fmla="*/ 14403 w 164226"/>
              <a:gd name="connsiteY27" fmla="*/ 109267 h 116741"/>
              <a:gd name="connsiteX28" fmla="*/ 25925 w 164226"/>
              <a:gd name="connsiteY28" fmla="*/ 102366 h 116741"/>
              <a:gd name="connsiteX29" fmla="*/ 55882 w 164226"/>
              <a:gd name="connsiteY29" fmla="*/ 105817 h 116741"/>
              <a:gd name="connsiteX30" fmla="*/ 72013 w 164226"/>
              <a:gd name="connsiteY30" fmla="*/ 108692 h 116741"/>
              <a:gd name="connsiteX31" fmla="*/ 84111 w 164226"/>
              <a:gd name="connsiteY31" fmla="*/ 110417 h 116741"/>
              <a:gd name="connsiteX32" fmla="*/ 95633 w 164226"/>
              <a:gd name="connsiteY32" fmla="*/ 111567 h 116741"/>
              <a:gd name="connsiteX33" fmla="*/ 107155 w 164226"/>
              <a:gd name="connsiteY33" fmla="*/ 115018 h 116741"/>
              <a:gd name="connsiteX34" fmla="*/ 123286 w 164226"/>
              <a:gd name="connsiteY34" fmla="*/ 116168 h 116741"/>
              <a:gd name="connsiteX35" fmla="*/ 126166 w 164226"/>
              <a:gd name="connsiteY35" fmla="*/ 110417 h 116741"/>
              <a:gd name="connsiteX36" fmla="*/ 136536 w 164226"/>
              <a:gd name="connsiteY36" fmla="*/ 98915 h 116741"/>
              <a:gd name="connsiteX37" fmla="*/ 148058 w 164226"/>
              <a:gd name="connsiteY37" fmla="*/ 96615 h 116741"/>
              <a:gd name="connsiteX38" fmla="*/ 145178 w 164226"/>
              <a:gd name="connsiteY38" fmla="*/ 89139 h 116741"/>
              <a:gd name="connsiteX39" fmla="*/ 142297 w 164226"/>
              <a:gd name="connsiteY39" fmla="*/ 73036 h 116741"/>
              <a:gd name="connsiteX40" fmla="*/ 154971 w 164226"/>
              <a:gd name="connsiteY40" fmla="*/ 74762 h 116741"/>
              <a:gd name="connsiteX41" fmla="*/ 164189 w 164226"/>
              <a:gd name="connsiteY41" fmla="*/ 66710 h 116741"/>
              <a:gd name="connsiteX42" fmla="*/ 154395 w 164226"/>
              <a:gd name="connsiteY42" fmla="*/ 58084 h 11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4226" h="116741">
                <a:moveTo>
                  <a:pt x="154395" y="58084"/>
                </a:moveTo>
                <a:cubicBezTo>
                  <a:pt x="151515" y="57509"/>
                  <a:pt x="149210" y="50608"/>
                  <a:pt x="144026" y="48308"/>
                </a:cubicBezTo>
                <a:cubicBezTo>
                  <a:pt x="138841" y="46582"/>
                  <a:pt x="139993" y="40256"/>
                  <a:pt x="135960" y="37381"/>
                </a:cubicBezTo>
                <a:cubicBezTo>
                  <a:pt x="131927" y="34505"/>
                  <a:pt x="134232" y="29330"/>
                  <a:pt x="134232" y="24729"/>
                </a:cubicBezTo>
                <a:cubicBezTo>
                  <a:pt x="133656" y="20703"/>
                  <a:pt x="134808" y="13802"/>
                  <a:pt x="132504" y="12652"/>
                </a:cubicBezTo>
                <a:cubicBezTo>
                  <a:pt x="130199" y="11502"/>
                  <a:pt x="120405" y="6326"/>
                  <a:pt x="116373" y="8051"/>
                </a:cubicBezTo>
                <a:cubicBezTo>
                  <a:pt x="112340" y="9777"/>
                  <a:pt x="108883" y="11502"/>
                  <a:pt x="107155" y="8051"/>
                </a:cubicBezTo>
                <a:cubicBezTo>
                  <a:pt x="105427" y="4601"/>
                  <a:pt x="102546" y="2875"/>
                  <a:pt x="98513" y="4026"/>
                </a:cubicBezTo>
                <a:cubicBezTo>
                  <a:pt x="94481" y="5176"/>
                  <a:pt x="91600" y="3451"/>
                  <a:pt x="89296" y="1150"/>
                </a:cubicBezTo>
                <a:cubicBezTo>
                  <a:pt x="88720" y="575"/>
                  <a:pt x="88720" y="575"/>
                  <a:pt x="88144" y="0"/>
                </a:cubicBezTo>
                <a:cubicBezTo>
                  <a:pt x="86415" y="575"/>
                  <a:pt x="84111" y="1150"/>
                  <a:pt x="82959" y="2300"/>
                </a:cubicBezTo>
                <a:cubicBezTo>
                  <a:pt x="80078" y="4601"/>
                  <a:pt x="80078" y="8626"/>
                  <a:pt x="76046" y="8626"/>
                </a:cubicBezTo>
                <a:cubicBezTo>
                  <a:pt x="72589" y="8626"/>
                  <a:pt x="68556" y="6901"/>
                  <a:pt x="63947" y="10352"/>
                </a:cubicBezTo>
                <a:cubicBezTo>
                  <a:pt x="59914" y="13227"/>
                  <a:pt x="58763" y="17253"/>
                  <a:pt x="59339" y="19553"/>
                </a:cubicBezTo>
                <a:cubicBezTo>
                  <a:pt x="59914" y="22428"/>
                  <a:pt x="60491" y="26454"/>
                  <a:pt x="57034" y="26454"/>
                </a:cubicBezTo>
                <a:cubicBezTo>
                  <a:pt x="54153" y="26454"/>
                  <a:pt x="54730" y="29905"/>
                  <a:pt x="51273" y="31055"/>
                </a:cubicBezTo>
                <a:cubicBezTo>
                  <a:pt x="48392" y="32205"/>
                  <a:pt x="43208" y="36806"/>
                  <a:pt x="42631" y="39106"/>
                </a:cubicBezTo>
                <a:cubicBezTo>
                  <a:pt x="42055" y="41982"/>
                  <a:pt x="42055" y="47157"/>
                  <a:pt x="39751" y="47157"/>
                </a:cubicBezTo>
                <a:cubicBezTo>
                  <a:pt x="37447" y="47157"/>
                  <a:pt x="30533" y="48308"/>
                  <a:pt x="28229" y="50608"/>
                </a:cubicBezTo>
                <a:cubicBezTo>
                  <a:pt x="25925" y="53483"/>
                  <a:pt x="23620" y="55784"/>
                  <a:pt x="19587" y="54634"/>
                </a:cubicBezTo>
                <a:cubicBezTo>
                  <a:pt x="17283" y="54058"/>
                  <a:pt x="11522" y="54058"/>
                  <a:pt x="6913" y="53483"/>
                </a:cubicBezTo>
                <a:cubicBezTo>
                  <a:pt x="6913" y="54058"/>
                  <a:pt x="6913" y="54634"/>
                  <a:pt x="6913" y="55209"/>
                </a:cubicBezTo>
                <a:cubicBezTo>
                  <a:pt x="5185" y="60384"/>
                  <a:pt x="6337" y="65560"/>
                  <a:pt x="9794" y="68436"/>
                </a:cubicBezTo>
                <a:cubicBezTo>
                  <a:pt x="12674" y="71311"/>
                  <a:pt x="13826" y="82238"/>
                  <a:pt x="10370" y="83388"/>
                </a:cubicBezTo>
                <a:cubicBezTo>
                  <a:pt x="6913" y="85113"/>
                  <a:pt x="0" y="89714"/>
                  <a:pt x="0" y="92590"/>
                </a:cubicBezTo>
                <a:cubicBezTo>
                  <a:pt x="0" y="95465"/>
                  <a:pt x="6913" y="97765"/>
                  <a:pt x="5761" y="101791"/>
                </a:cubicBezTo>
                <a:cubicBezTo>
                  <a:pt x="5185" y="104091"/>
                  <a:pt x="5185" y="108117"/>
                  <a:pt x="5185" y="111567"/>
                </a:cubicBezTo>
                <a:cubicBezTo>
                  <a:pt x="8642" y="111567"/>
                  <a:pt x="11522" y="112143"/>
                  <a:pt x="14403" y="109267"/>
                </a:cubicBezTo>
                <a:cubicBezTo>
                  <a:pt x="17283" y="106392"/>
                  <a:pt x="19011" y="102366"/>
                  <a:pt x="25925" y="102366"/>
                </a:cubicBezTo>
                <a:cubicBezTo>
                  <a:pt x="32838" y="102366"/>
                  <a:pt x="53002" y="102366"/>
                  <a:pt x="55882" y="105817"/>
                </a:cubicBezTo>
                <a:cubicBezTo>
                  <a:pt x="58763" y="109267"/>
                  <a:pt x="67404" y="106392"/>
                  <a:pt x="72013" y="108692"/>
                </a:cubicBezTo>
                <a:cubicBezTo>
                  <a:pt x="76622" y="110992"/>
                  <a:pt x="83535" y="112718"/>
                  <a:pt x="84111" y="110417"/>
                </a:cubicBezTo>
                <a:cubicBezTo>
                  <a:pt x="84687" y="108117"/>
                  <a:pt x="91024" y="113868"/>
                  <a:pt x="95633" y="111567"/>
                </a:cubicBezTo>
                <a:cubicBezTo>
                  <a:pt x="100242" y="108692"/>
                  <a:pt x="104274" y="116743"/>
                  <a:pt x="107155" y="115018"/>
                </a:cubicBezTo>
                <a:cubicBezTo>
                  <a:pt x="109460" y="113293"/>
                  <a:pt x="120405" y="113293"/>
                  <a:pt x="123286" y="116168"/>
                </a:cubicBezTo>
                <a:cubicBezTo>
                  <a:pt x="126166" y="118469"/>
                  <a:pt x="126166" y="113293"/>
                  <a:pt x="126166" y="110417"/>
                </a:cubicBezTo>
                <a:cubicBezTo>
                  <a:pt x="126166" y="107542"/>
                  <a:pt x="136536" y="98915"/>
                  <a:pt x="136536" y="98915"/>
                </a:cubicBezTo>
                <a:cubicBezTo>
                  <a:pt x="136536" y="98915"/>
                  <a:pt x="143449" y="98340"/>
                  <a:pt x="148058" y="96615"/>
                </a:cubicBezTo>
                <a:cubicBezTo>
                  <a:pt x="146906" y="95465"/>
                  <a:pt x="146330" y="93165"/>
                  <a:pt x="145178" y="89139"/>
                </a:cubicBezTo>
                <a:cubicBezTo>
                  <a:pt x="143449" y="80513"/>
                  <a:pt x="139993" y="75337"/>
                  <a:pt x="142297" y="73036"/>
                </a:cubicBezTo>
                <a:cubicBezTo>
                  <a:pt x="144602" y="70161"/>
                  <a:pt x="151515" y="76487"/>
                  <a:pt x="154971" y="74762"/>
                </a:cubicBezTo>
                <a:cubicBezTo>
                  <a:pt x="158428" y="73036"/>
                  <a:pt x="164765" y="70161"/>
                  <a:pt x="164189" y="66710"/>
                </a:cubicBezTo>
                <a:cubicBezTo>
                  <a:pt x="163613" y="63260"/>
                  <a:pt x="157852" y="58659"/>
                  <a:pt x="154395" y="5808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4" name="Freeform 303">
            <a:extLst>
              <a:ext uri="{FF2B5EF4-FFF2-40B4-BE49-F238E27FC236}">
                <a16:creationId xmlns:a16="http://schemas.microsoft.com/office/drawing/2014/main" id="{8D03129D-F06B-4A51-07ED-E64A887695FD}"/>
              </a:ext>
            </a:extLst>
          </p:cNvPr>
          <p:cNvSpPr/>
          <p:nvPr/>
        </p:nvSpPr>
        <p:spPr>
          <a:xfrm>
            <a:off x="11077458" y="1334073"/>
            <a:ext cx="1055300" cy="514365"/>
          </a:xfrm>
          <a:custGeom>
            <a:avLst/>
            <a:gdLst>
              <a:gd name="connsiteX0" fmla="*/ 41693 w 127532"/>
              <a:gd name="connsiteY0" fmla="*/ 43759 h 62161"/>
              <a:gd name="connsiteX1" fmla="*/ 64161 w 127532"/>
              <a:gd name="connsiteY1" fmla="*/ 43759 h 62161"/>
              <a:gd name="connsiteX2" fmla="*/ 74531 w 127532"/>
              <a:gd name="connsiteY2" fmla="*/ 47784 h 62161"/>
              <a:gd name="connsiteX3" fmla="*/ 91238 w 127532"/>
              <a:gd name="connsiteY3" fmla="*/ 56411 h 62161"/>
              <a:gd name="connsiteX4" fmla="*/ 99880 w 127532"/>
              <a:gd name="connsiteY4" fmla="*/ 62162 h 62161"/>
              <a:gd name="connsiteX5" fmla="*/ 103336 w 127532"/>
              <a:gd name="connsiteY5" fmla="*/ 58136 h 62161"/>
              <a:gd name="connsiteX6" fmla="*/ 115435 w 127532"/>
              <a:gd name="connsiteY6" fmla="*/ 56411 h 62161"/>
              <a:gd name="connsiteX7" fmla="*/ 122348 w 127532"/>
              <a:gd name="connsiteY7" fmla="*/ 50085 h 62161"/>
              <a:gd name="connsiteX8" fmla="*/ 127533 w 127532"/>
              <a:gd name="connsiteY8" fmla="*/ 47784 h 62161"/>
              <a:gd name="connsiteX9" fmla="*/ 123500 w 127532"/>
              <a:gd name="connsiteY9" fmla="*/ 36858 h 62161"/>
              <a:gd name="connsiteX10" fmla="*/ 118315 w 127532"/>
              <a:gd name="connsiteY10" fmla="*/ 26506 h 62161"/>
              <a:gd name="connsiteX11" fmla="*/ 116587 w 127532"/>
              <a:gd name="connsiteY11" fmla="*/ 16729 h 62161"/>
              <a:gd name="connsiteX12" fmla="*/ 113706 w 127532"/>
              <a:gd name="connsiteY12" fmla="*/ 12129 h 62161"/>
              <a:gd name="connsiteX13" fmla="*/ 96999 w 127532"/>
              <a:gd name="connsiteY13" fmla="*/ 10979 h 62161"/>
              <a:gd name="connsiteX14" fmla="*/ 79140 w 127532"/>
              <a:gd name="connsiteY14" fmla="*/ 627 h 62161"/>
              <a:gd name="connsiteX15" fmla="*/ 60129 w 127532"/>
              <a:gd name="connsiteY15" fmla="*/ 1202 h 62161"/>
              <a:gd name="connsiteX16" fmla="*/ 58400 w 127532"/>
              <a:gd name="connsiteY16" fmla="*/ 18455 h 62161"/>
              <a:gd name="connsiteX17" fmla="*/ 43998 w 127532"/>
              <a:gd name="connsiteY17" fmla="*/ 25356 h 62161"/>
              <a:gd name="connsiteX18" fmla="*/ 28443 w 127532"/>
              <a:gd name="connsiteY18" fmla="*/ 6953 h 62161"/>
              <a:gd name="connsiteX19" fmla="*/ 11736 w 127532"/>
              <a:gd name="connsiteY19" fmla="*/ 14429 h 62161"/>
              <a:gd name="connsiteX20" fmla="*/ 4823 w 127532"/>
              <a:gd name="connsiteY20" fmla="*/ 28231 h 62161"/>
              <a:gd name="connsiteX21" fmla="*/ 1942 w 127532"/>
              <a:gd name="connsiteY21" fmla="*/ 44909 h 62161"/>
              <a:gd name="connsiteX22" fmla="*/ 2518 w 127532"/>
              <a:gd name="connsiteY22" fmla="*/ 46059 h 62161"/>
              <a:gd name="connsiteX23" fmla="*/ 16345 w 127532"/>
              <a:gd name="connsiteY23" fmla="*/ 42609 h 62161"/>
              <a:gd name="connsiteX24" fmla="*/ 41693 w 127532"/>
              <a:gd name="connsiteY24" fmla="*/ 43759 h 6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532" h="62161">
                <a:moveTo>
                  <a:pt x="41693" y="43759"/>
                </a:moveTo>
                <a:cubicBezTo>
                  <a:pt x="46302" y="43759"/>
                  <a:pt x="57824" y="46059"/>
                  <a:pt x="64161" y="43759"/>
                </a:cubicBezTo>
                <a:cubicBezTo>
                  <a:pt x="70498" y="41458"/>
                  <a:pt x="70498" y="48359"/>
                  <a:pt x="74531" y="47784"/>
                </a:cubicBezTo>
                <a:cubicBezTo>
                  <a:pt x="78564" y="47209"/>
                  <a:pt x="86630" y="52385"/>
                  <a:pt x="91238" y="56411"/>
                </a:cubicBezTo>
                <a:cubicBezTo>
                  <a:pt x="93542" y="58711"/>
                  <a:pt x="96999" y="60436"/>
                  <a:pt x="99880" y="62162"/>
                </a:cubicBezTo>
                <a:cubicBezTo>
                  <a:pt x="100456" y="61011"/>
                  <a:pt x="101608" y="59861"/>
                  <a:pt x="103336" y="58136"/>
                </a:cubicBezTo>
                <a:cubicBezTo>
                  <a:pt x="107369" y="55260"/>
                  <a:pt x="111402" y="56411"/>
                  <a:pt x="115435" y="56411"/>
                </a:cubicBezTo>
                <a:cubicBezTo>
                  <a:pt x="118891" y="56411"/>
                  <a:pt x="119467" y="52385"/>
                  <a:pt x="122348" y="50085"/>
                </a:cubicBezTo>
                <a:cubicBezTo>
                  <a:pt x="124076" y="48935"/>
                  <a:pt x="125804" y="48359"/>
                  <a:pt x="127533" y="47784"/>
                </a:cubicBezTo>
                <a:cubicBezTo>
                  <a:pt x="126380" y="44909"/>
                  <a:pt x="125804" y="39158"/>
                  <a:pt x="123500" y="36858"/>
                </a:cubicBezTo>
                <a:cubicBezTo>
                  <a:pt x="120619" y="33982"/>
                  <a:pt x="117163" y="29381"/>
                  <a:pt x="118315" y="26506"/>
                </a:cubicBezTo>
                <a:cubicBezTo>
                  <a:pt x="119467" y="23631"/>
                  <a:pt x="119467" y="20180"/>
                  <a:pt x="116587" y="16729"/>
                </a:cubicBezTo>
                <a:cubicBezTo>
                  <a:pt x="115435" y="15579"/>
                  <a:pt x="114282" y="13854"/>
                  <a:pt x="113706" y="12129"/>
                </a:cubicBezTo>
                <a:cubicBezTo>
                  <a:pt x="107369" y="11554"/>
                  <a:pt x="98728" y="10403"/>
                  <a:pt x="96999" y="10979"/>
                </a:cubicBezTo>
                <a:cubicBezTo>
                  <a:pt x="94119" y="12129"/>
                  <a:pt x="81444" y="2352"/>
                  <a:pt x="79140" y="627"/>
                </a:cubicBezTo>
                <a:cubicBezTo>
                  <a:pt x="77988" y="-523"/>
                  <a:pt x="68770" y="52"/>
                  <a:pt x="60129" y="1202"/>
                </a:cubicBezTo>
                <a:cubicBezTo>
                  <a:pt x="55520" y="6378"/>
                  <a:pt x="58976" y="10403"/>
                  <a:pt x="58400" y="18455"/>
                </a:cubicBezTo>
                <a:cubicBezTo>
                  <a:pt x="58400" y="26506"/>
                  <a:pt x="49183" y="25356"/>
                  <a:pt x="43998" y="25356"/>
                </a:cubicBezTo>
                <a:cubicBezTo>
                  <a:pt x="38813" y="25356"/>
                  <a:pt x="30747" y="10403"/>
                  <a:pt x="28443" y="6953"/>
                </a:cubicBezTo>
                <a:cubicBezTo>
                  <a:pt x="25562" y="3502"/>
                  <a:pt x="17497" y="10979"/>
                  <a:pt x="11736" y="14429"/>
                </a:cubicBezTo>
                <a:cubicBezTo>
                  <a:pt x="5975" y="17880"/>
                  <a:pt x="8856" y="24781"/>
                  <a:pt x="4823" y="28231"/>
                </a:cubicBezTo>
                <a:cubicBezTo>
                  <a:pt x="790" y="31682"/>
                  <a:pt x="-2090" y="37433"/>
                  <a:pt x="1942" y="44909"/>
                </a:cubicBezTo>
                <a:cubicBezTo>
                  <a:pt x="1942" y="45484"/>
                  <a:pt x="1942" y="45484"/>
                  <a:pt x="2518" y="46059"/>
                </a:cubicBezTo>
                <a:cubicBezTo>
                  <a:pt x="7703" y="45484"/>
                  <a:pt x="13464" y="44909"/>
                  <a:pt x="16345" y="42609"/>
                </a:cubicBezTo>
                <a:cubicBezTo>
                  <a:pt x="22106" y="39733"/>
                  <a:pt x="37084" y="43759"/>
                  <a:pt x="41693" y="43759"/>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5" name="Freeform 304">
            <a:extLst>
              <a:ext uri="{FF2B5EF4-FFF2-40B4-BE49-F238E27FC236}">
                <a16:creationId xmlns:a16="http://schemas.microsoft.com/office/drawing/2014/main" id="{98D7ED51-6839-0648-2C64-B067FE857603}"/>
              </a:ext>
            </a:extLst>
          </p:cNvPr>
          <p:cNvSpPr/>
          <p:nvPr/>
        </p:nvSpPr>
        <p:spPr>
          <a:xfrm>
            <a:off x="11071509" y="1686118"/>
            <a:ext cx="832426" cy="507119"/>
          </a:xfrm>
          <a:custGeom>
            <a:avLst/>
            <a:gdLst>
              <a:gd name="connsiteX0" fmla="*/ 13031 w 100598"/>
              <a:gd name="connsiteY0" fmla="*/ 29394 h 61285"/>
              <a:gd name="connsiteX1" fmla="*/ 23401 w 100598"/>
              <a:gd name="connsiteY1" fmla="*/ 33419 h 61285"/>
              <a:gd name="connsiteX2" fmla="*/ 33195 w 100598"/>
              <a:gd name="connsiteY2" fmla="*/ 39170 h 61285"/>
              <a:gd name="connsiteX3" fmla="*/ 33195 w 100598"/>
              <a:gd name="connsiteY3" fmla="*/ 51822 h 61285"/>
              <a:gd name="connsiteX4" fmla="*/ 47021 w 100598"/>
              <a:gd name="connsiteY4" fmla="*/ 59873 h 61285"/>
              <a:gd name="connsiteX5" fmla="*/ 59695 w 100598"/>
              <a:gd name="connsiteY5" fmla="*/ 61023 h 61285"/>
              <a:gd name="connsiteX6" fmla="*/ 68337 w 100598"/>
              <a:gd name="connsiteY6" fmla="*/ 56998 h 61285"/>
              <a:gd name="connsiteX7" fmla="*/ 79859 w 100598"/>
              <a:gd name="connsiteY7" fmla="*/ 53547 h 61285"/>
              <a:gd name="connsiteX8" fmla="*/ 82739 w 100598"/>
              <a:gd name="connsiteY8" fmla="*/ 45496 h 61285"/>
              <a:gd name="connsiteX9" fmla="*/ 91381 w 100598"/>
              <a:gd name="connsiteY9" fmla="*/ 37445 h 61285"/>
              <a:gd name="connsiteX10" fmla="*/ 97142 w 100598"/>
              <a:gd name="connsiteY10" fmla="*/ 32844 h 61285"/>
              <a:gd name="connsiteX11" fmla="*/ 99446 w 100598"/>
              <a:gd name="connsiteY11" fmla="*/ 25943 h 61285"/>
              <a:gd name="connsiteX12" fmla="*/ 100599 w 100598"/>
              <a:gd name="connsiteY12" fmla="*/ 20192 h 61285"/>
              <a:gd name="connsiteX13" fmla="*/ 91957 w 100598"/>
              <a:gd name="connsiteY13" fmla="*/ 14441 h 61285"/>
              <a:gd name="connsiteX14" fmla="*/ 75250 w 100598"/>
              <a:gd name="connsiteY14" fmla="*/ 5815 h 61285"/>
              <a:gd name="connsiteX15" fmla="*/ 64880 w 100598"/>
              <a:gd name="connsiteY15" fmla="*/ 1789 h 61285"/>
              <a:gd name="connsiteX16" fmla="*/ 42412 w 100598"/>
              <a:gd name="connsiteY16" fmla="*/ 1789 h 61285"/>
              <a:gd name="connsiteX17" fmla="*/ 17064 w 100598"/>
              <a:gd name="connsiteY17" fmla="*/ 1789 h 61285"/>
              <a:gd name="connsiteX18" fmla="*/ 3237 w 100598"/>
              <a:gd name="connsiteY18" fmla="*/ 5240 h 61285"/>
              <a:gd name="connsiteX19" fmla="*/ 1509 w 100598"/>
              <a:gd name="connsiteY19" fmla="*/ 24218 h 61285"/>
              <a:gd name="connsiteX20" fmla="*/ 2661 w 100598"/>
              <a:gd name="connsiteY20" fmla="*/ 28818 h 61285"/>
              <a:gd name="connsiteX21" fmla="*/ 13031 w 100598"/>
              <a:gd name="connsiteY21" fmla="*/ 29394 h 6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598" h="61285">
                <a:moveTo>
                  <a:pt x="13031" y="29394"/>
                </a:moveTo>
                <a:cubicBezTo>
                  <a:pt x="14759" y="32269"/>
                  <a:pt x="21097" y="34569"/>
                  <a:pt x="23401" y="33419"/>
                </a:cubicBezTo>
                <a:cubicBezTo>
                  <a:pt x="25705" y="32269"/>
                  <a:pt x="33195" y="36295"/>
                  <a:pt x="33195" y="39170"/>
                </a:cubicBezTo>
                <a:cubicBezTo>
                  <a:pt x="33195" y="42045"/>
                  <a:pt x="31466" y="51822"/>
                  <a:pt x="33195" y="51822"/>
                </a:cubicBezTo>
                <a:cubicBezTo>
                  <a:pt x="34923" y="51822"/>
                  <a:pt x="45869" y="55273"/>
                  <a:pt x="47021" y="59873"/>
                </a:cubicBezTo>
                <a:cubicBezTo>
                  <a:pt x="52206" y="59873"/>
                  <a:pt x="57967" y="60448"/>
                  <a:pt x="59695" y="61023"/>
                </a:cubicBezTo>
                <a:cubicBezTo>
                  <a:pt x="63728" y="62174"/>
                  <a:pt x="66608" y="59298"/>
                  <a:pt x="68337" y="56998"/>
                </a:cubicBezTo>
                <a:cubicBezTo>
                  <a:pt x="70641" y="54122"/>
                  <a:pt x="77555" y="53547"/>
                  <a:pt x="79859" y="53547"/>
                </a:cubicBezTo>
                <a:cubicBezTo>
                  <a:pt x="82163" y="53547"/>
                  <a:pt x="82163" y="47796"/>
                  <a:pt x="82739" y="45496"/>
                </a:cubicBezTo>
                <a:cubicBezTo>
                  <a:pt x="83316" y="43196"/>
                  <a:pt x="88500" y="38020"/>
                  <a:pt x="91381" y="37445"/>
                </a:cubicBezTo>
                <a:cubicBezTo>
                  <a:pt x="94261" y="36295"/>
                  <a:pt x="93685" y="32844"/>
                  <a:pt x="97142" y="32844"/>
                </a:cubicBezTo>
                <a:cubicBezTo>
                  <a:pt x="100022" y="32844"/>
                  <a:pt x="99446" y="28818"/>
                  <a:pt x="99446" y="25943"/>
                </a:cubicBezTo>
                <a:cubicBezTo>
                  <a:pt x="98870" y="24218"/>
                  <a:pt x="99446" y="22492"/>
                  <a:pt x="100599" y="20192"/>
                </a:cubicBezTo>
                <a:cubicBezTo>
                  <a:pt x="97142" y="18467"/>
                  <a:pt x="94261" y="16741"/>
                  <a:pt x="91957" y="14441"/>
                </a:cubicBezTo>
                <a:cubicBezTo>
                  <a:pt x="87348" y="10416"/>
                  <a:pt x="79283" y="4665"/>
                  <a:pt x="75250" y="5815"/>
                </a:cubicBezTo>
                <a:cubicBezTo>
                  <a:pt x="71217" y="6390"/>
                  <a:pt x="71217" y="-511"/>
                  <a:pt x="64880" y="1789"/>
                </a:cubicBezTo>
                <a:cubicBezTo>
                  <a:pt x="58543" y="4089"/>
                  <a:pt x="47597" y="1789"/>
                  <a:pt x="42412" y="1789"/>
                </a:cubicBezTo>
                <a:cubicBezTo>
                  <a:pt x="37803" y="1789"/>
                  <a:pt x="22825" y="-2236"/>
                  <a:pt x="17064" y="1789"/>
                </a:cubicBezTo>
                <a:cubicBezTo>
                  <a:pt x="13607" y="4089"/>
                  <a:pt x="8422" y="5240"/>
                  <a:pt x="3237" y="5240"/>
                </a:cubicBezTo>
                <a:cubicBezTo>
                  <a:pt x="6694" y="12716"/>
                  <a:pt x="5542" y="19617"/>
                  <a:pt x="1509" y="24218"/>
                </a:cubicBezTo>
                <a:cubicBezTo>
                  <a:pt x="-1372" y="27668"/>
                  <a:pt x="357" y="27668"/>
                  <a:pt x="2661" y="28818"/>
                </a:cubicBezTo>
                <a:cubicBezTo>
                  <a:pt x="6694" y="28243"/>
                  <a:pt x="11303" y="27668"/>
                  <a:pt x="13031" y="2939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6" name="Freeform 305">
            <a:extLst>
              <a:ext uri="{FF2B5EF4-FFF2-40B4-BE49-F238E27FC236}">
                <a16:creationId xmlns:a16="http://schemas.microsoft.com/office/drawing/2014/main" id="{86DC22CD-8583-FED1-F2EA-F779B4C411C0}"/>
              </a:ext>
            </a:extLst>
          </p:cNvPr>
          <p:cNvSpPr/>
          <p:nvPr/>
        </p:nvSpPr>
        <p:spPr>
          <a:xfrm>
            <a:off x="8986073" y="3399127"/>
            <a:ext cx="643942" cy="338527"/>
          </a:xfrm>
          <a:custGeom>
            <a:avLst/>
            <a:gdLst>
              <a:gd name="connsiteX0" fmla="*/ 70907 w 77820"/>
              <a:gd name="connsiteY0" fmla="*/ 17907 h 40911"/>
              <a:gd name="connsiteX1" fmla="*/ 61690 w 77820"/>
              <a:gd name="connsiteY1" fmla="*/ 13307 h 40911"/>
              <a:gd name="connsiteX2" fmla="*/ 61690 w 77820"/>
              <a:gd name="connsiteY2" fmla="*/ 5831 h 40911"/>
              <a:gd name="connsiteX3" fmla="*/ 51320 w 77820"/>
              <a:gd name="connsiteY3" fmla="*/ 1230 h 40911"/>
              <a:gd name="connsiteX4" fmla="*/ 39222 w 77820"/>
              <a:gd name="connsiteY4" fmla="*/ 1805 h 40911"/>
              <a:gd name="connsiteX5" fmla="*/ 24243 w 77820"/>
              <a:gd name="connsiteY5" fmla="*/ 2380 h 40911"/>
              <a:gd name="connsiteX6" fmla="*/ 21939 w 77820"/>
              <a:gd name="connsiteY6" fmla="*/ 4680 h 40911"/>
              <a:gd name="connsiteX7" fmla="*/ 12721 w 77820"/>
              <a:gd name="connsiteY7" fmla="*/ 12157 h 40911"/>
              <a:gd name="connsiteX8" fmla="*/ 1199 w 77820"/>
              <a:gd name="connsiteY8" fmla="*/ 25959 h 40911"/>
              <a:gd name="connsiteX9" fmla="*/ 3503 w 77820"/>
              <a:gd name="connsiteY9" fmla="*/ 31710 h 40911"/>
              <a:gd name="connsiteX10" fmla="*/ 10993 w 77820"/>
              <a:gd name="connsiteY10" fmla="*/ 32285 h 40911"/>
              <a:gd name="connsiteX11" fmla="*/ 13873 w 77820"/>
              <a:gd name="connsiteY11" fmla="*/ 40911 h 40911"/>
              <a:gd name="connsiteX12" fmla="*/ 13873 w 77820"/>
              <a:gd name="connsiteY12" fmla="*/ 40911 h 40911"/>
              <a:gd name="connsiteX13" fmla="*/ 28852 w 77820"/>
              <a:gd name="connsiteY13" fmla="*/ 39761 h 40911"/>
              <a:gd name="connsiteX14" fmla="*/ 37493 w 77820"/>
              <a:gd name="connsiteY14" fmla="*/ 27109 h 40911"/>
              <a:gd name="connsiteX15" fmla="*/ 47287 w 77820"/>
              <a:gd name="connsiteY15" fmla="*/ 39186 h 40911"/>
              <a:gd name="connsiteX16" fmla="*/ 51896 w 77820"/>
              <a:gd name="connsiteY16" fmla="*/ 32860 h 40911"/>
              <a:gd name="connsiteX17" fmla="*/ 58233 w 77820"/>
              <a:gd name="connsiteY17" fmla="*/ 29409 h 40911"/>
              <a:gd name="connsiteX18" fmla="*/ 66299 w 77820"/>
              <a:gd name="connsiteY18" fmla="*/ 27109 h 40911"/>
              <a:gd name="connsiteX19" fmla="*/ 71484 w 77820"/>
              <a:gd name="connsiteY19" fmla="*/ 24809 h 40911"/>
              <a:gd name="connsiteX20" fmla="*/ 74364 w 77820"/>
              <a:gd name="connsiteY20" fmla="*/ 20783 h 40911"/>
              <a:gd name="connsiteX21" fmla="*/ 77821 w 77820"/>
              <a:gd name="connsiteY21" fmla="*/ 17907 h 40911"/>
              <a:gd name="connsiteX22" fmla="*/ 70907 w 77820"/>
              <a:gd name="connsiteY22" fmla="*/ 17907 h 4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820" h="40911">
                <a:moveTo>
                  <a:pt x="70907" y="17907"/>
                </a:moveTo>
                <a:cubicBezTo>
                  <a:pt x="67451" y="19633"/>
                  <a:pt x="61690" y="15032"/>
                  <a:pt x="61690" y="13307"/>
                </a:cubicBezTo>
                <a:cubicBezTo>
                  <a:pt x="61690" y="12157"/>
                  <a:pt x="61113" y="8131"/>
                  <a:pt x="61690" y="5831"/>
                </a:cubicBezTo>
                <a:cubicBezTo>
                  <a:pt x="58809" y="4105"/>
                  <a:pt x="54776" y="2380"/>
                  <a:pt x="51320" y="1230"/>
                </a:cubicBezTo>
                <a:cubicBezTo>
                  <a:pt x="46135" y="-495"/>
                  <a:pt x="43830" y="-495"/>
                  <a:pt x="39222" y="1805"/>
                </a:cubicBezTo>
                <a:cubicBezTo>
                  <a:pt x="36341" y="2955"/>
                  <a:pt x="29428" y="2955"/>
                  <a:pt x="24243" y="2380"/>
                </a:cubicBezTo>
                <a:cubicBezTo>
                  <a:pt x="23667" y="4105"/>
                  <a:pt x="23091" y="4680"/>
                  <a:pt x="21939" y="4680"/>
                </a:cubicBezTo>
                <a:cubicBezTo>
                  <a:pt x="18482" y="4680"/>
                  <a:pt x="13873" y="8131"/>
                  <a:pt x="12721" y="12157"/>
                </a:cubicBezTo>
                <a:cubicBezTo>
                  <a:pt x="12145" y="16182"/>
                  <a:pt x="3503" y="19058"/>
                  <a:pt x="1199" y="25959"/>
                </a:cubicBezTo>
                <a:cubicBezTo>
                  <a:pt x="-1106" y="32860"/>
                  <a:pt x="47" y="36310"/>
                  <a:pt x="3503" y="31710"/>
                </a:cubicBezTo>
                <a:cubicBezTo>
                  <a:pt x="6960" y="27684"/>
                  <a:pt x="10993" y="28834"/>
                  <a:pt x="10993" y="32285"/>
                </a:cubicBezTo>
                <a:cubicBezTo>
                  <a:pt x="10993" y="35735"/>
                  <a:pt x="15602" y="36310"/>
                  <a:pt x="13873" y="40911"/>
                </a:cubicBezTo>
                <a:cubicBezTo>
                  <a:pt x="13873" y="40911"/>
                  <a:pt x="13873" y="40911"/>
                  <a:pt x="13873" y="40911"/>
                </a:cubicBezTo>
                <a:cubicBezTo>
                  <a:pt x="19058" y="40336"/>
                  <a:pt x="26547" y="39761"/>
                  <a:pt x="28852" y="39761"/>
                </a:cubicBezTo>
                <a:cubicBezTo>
                  <a:pt x="32308" y="39761"/>
                  <a:pt x="36341" y="28259"/>
                  <a:pt x="37493" y="27109"/>
                </a:cubicBezTo>
                <a:cubicBezTo>
                  <a:pt x="39222" y="25959"/>
                  <a:pt x="43254" y="35160"/>
                  <a:pt x="47287" y="39186"/>
                </a:cubicBezTo>
                <a:cubicBezTo>
                  <a:pt x="51320" y="42636"/>
                  <a:pt x="51896" y="36310"/>
                  <a:pt x="51896" y="32860"/>
                </a:cubicBezTo>
                <a:cubicBezTo>
                  <a:pt x="51896" y="29984"/>
                  <a:pt x="55352" y="28834"/>
                  <a:pt x="58233" y="29409"/>
                </a:cubicBezTo>
                <a:cubicBezTo>
                  <a:pt x="60537" y="29984"/>
                  <a:pt x="66299" y="31134"/>
                  <a:pt x="66299" y="27109"/>
                </a:cubicBezTo>
                <a:cubicBezTo>
                  <a:pt x="66299" y="23658"/>
                  <a:pt x="69179" y="24809"/>
                  <a:pt x="71484" y="24809"/>
                </a:cubicBezTo>
                <a:cubicBezTo>
                  <a:pt x="73788" y="24809"/>
                  <a:pt x="74364" y="20783"/>
                  <a:pt x="74364" y="20783"/>
                </a:cubicBezTo>
                <a:lnTo>
                  <a:pt x="77821" y="17907"/>
                </a:lnTo>
                <a:cubicBezTo>
                  <a:pt x="76668" y="17907"/>
                  <a:pt x="73788" y="16757"/>
                  <a:pt x="70907" y="17907"/>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7" name="Freeform 306">
            <a:extLst>
              <a:ext uri="{FF2B5EF4-FFF2-40B4-BE49-F238E27FC236}">
                <a16:creationId xmlns:a16="http://schemas.microsoft.com/office/drawing/2014/main" id="{0A15039B-76EE-6526-83D1-A77F6B8AF3A1}"/>
              </a:ext>
            </a:extLst>
          </p:cNvPr>
          <p:cNvSpPr/>
          <p:nvPr/>
        </p:nvSpPr>
        <p:spPr>
          <a:xfrm>
            <a:off x="8976588" y="2005471"/>
            <a:ext cx="1298135" cy="1454688"/>
          </a:xfrm>
          <a:custGeom>
            <a:avLst/>
            <a:gdLst>
              <a:gd name="connsiteX0" fmla="*/ 19628 w 156878"/>
              <a:gd name="connsiteY0" fmla="*/ 47733 h 175798"/>
              <a:gd name="connsiteX1" fmla="*/ 10987 w 156878"/>
              <a:gd name="connsiteY1" fmla="*/ 55784 h 175798"/>
              <a:gd name="connsiteX2" fmla="*/ 16748 w 156878"/>
              <a:gd name="connsiteY2" fmla="*/ 64985 h 175798"/>
              <a:gd name="connsiteX3" fmla="*/ 13291 w 156878"/>
              <a:gd name="connsiteY3" fmla="*/ 70736 h 175798"/>
              <a:gd name="connsiteX4" fmla="*/ 3497 w 156878"/>
              <a:gd name="connsiteY4" fmla="*/ 75337 h 175798"/>
              <a:gd name="connsiteX5" fmla="*/ 2345 w 156878"/>
              <a:gd name="connsiteY5" fmla="*/ 83388 h 175798"/>
              <a:gd name="connsiteX6" fmla="*/ 41 w 156878"/>
              <a:gd name="connsiteY6" fmla="*/ 97190 h 175798"/>
              <a:gd name="connsiteX7" fmla="*/ 4649 w 156878"/>
              <a:gd name="connsiteY7" fmla="*/ 108117 h 175798"/>
              <a:gd name="connsiteX8" fmla="*/ 1193 w 156878"/>
              <a:gd name="connsiteY8" fmla="*/ 115018 h 175798"/>
              <a:gd name="connsiteX9" fmla="*/ 6954 w 156878"/>
              <a:gd name="connsiteY9" fmla="*/ 129395 h 175798"/>
              <a:gd name="connsiteX10" fmla="*/ 10987 w 156878"/>
              <a:gd name="connsiteY10" fmla="*/ 131696 h 175798"/>
              <a:gd name="connsiteX11" fmla="*/ 22509 w 156878"/>
              <a:gd name="connsiteY11" fmla="*/ 136871 h 175798"/>
              <a:gd name="connsiteX12" fmla="*/ 31726 w 156878"/>
              <a:gd name="connsiteY12" fmla="*/ 139747 h 175798"/>
              <a:gd name="connsiteX13" fmla="*/ 35183 w 156878"/>
              <a:gd name="connsiteY13" fmla="*/ 145498 h 175798"/>
              <a:gd name="connsiteX14" fmla="*/ 28270 w 156878"/>
              <a:gd name="connsiteY14" fmla="*/ 159875 h 175798"/>
              <a:gd name="connsiteX15" fmla="*/ 26541 w 156878"/>
              <a:gd name="connsiteY15" fmla="*/ 170227 h 175798"/>
              <a:gd name="connsiteX16" fmla="*/ 41520 w 156878"/>
              <a:gd name="connsiteY16" fmla="*/ 169652 h 175798"/>
              <a:gd name="connsiteX17" fmla="*/ 53618 w 156878"/>
              <a:gd name="connsiteY17" fmla="*/ 169077 h 175798"/>
              <a:gd name="connsiteX18" fmla="*/ 63988 w 156878"/>
              <a:gd name="connsiteY18" fmla="*/ 173677 h 175798"/>
              <a:gd name="connsiteX19" fmla="*/ 65716 w 156878"/>
              <a:gd name="connsiteY19" fmla="*/ 171952 h 175798"/>
              <a:gd name="connsiteX20" fmla="*/ 76086 w 156878"/>
              <a:gd name="connsiteY20" fmla="*/ 174827 h 175798"/>
              <a:gd name="connsiteX21" fmla="*/ 86456 w 156878"/>
              <a:gd name="connsiteY21" fmla="*/ 173102 h 175798"/>
              <a:gd name="connsiteX22" fmla="*/ 96826 w 156878"/>
              <a:gd name="connsiteY22" fmla="*/ 172527 h 175798"/>
              <a:gd name="connsiteX23" fmla="*/ 114685 w 156878"/>
              <a:gd name="connsiteY23" fmla="*/ 169077 h 175798"/>
              <a:gd name="connsiteX24" fmla="*/ 121598 w 156878"/>
              <a:gd name="connsiteY24" fmla="*/ 163901 h 175798"/>
              <a:gd name="connsiteX25" fmla="*/ 128511 w 156878"/>
              <a:gd name="connsiteY25" fmla="*/ 152974 h 175798"/>
              <a:gd name="connsiteX26" fmla="*/ 138305 w 156878"/>
              <a:gd name="connsiteY26" fmla="*/ 145498 h 175798"/>
              <a:gd name="connsiteX27" fmla="*/ 119870 w 156878"/>
              <a:gd name="connsiteY27" fmla="*/ 131696 h 175798"/>
              <a:gd name="connsiteX28" fmla="*/ 114109 w 156878"/>
              <a:gd name="connsiteY28" fmla="*/ 116743 h 175798"/>
              <a:gd name="connsiteX29" fmla="*/ 112957 w 156878"/>
              <a:gd name="connsiteY29" fmla="*/ 107542 h 175798"/>
              <a:gd name="connsiteX30" fmla="*/ 131392 w 156878"/>
              <a:gd name="connsiteY30" fmla="*/ 100641 h 175798"/>
              <a:gd name="connsiteX31" fmla="*/ 145794 w 156878"/>
              <a:gd name="connsiteY31" fmla="*/ 94315 h 175798"/>
              <a:gd name="connsiteX32" fmla="*/ 155012 w 156878"/>
              <a:gd name="connsiteY32" fmla="*/ 93740 h 175798"/>
              <a:gd name="connsiteX33" fmla="*/ 155588 w 156878"/>
              <a:gd name="connsiteY33" fmla="*/ 83963 h 175798"/>
              <a:gd name="connsiteX34" fmla="*/ 151555 w 156878"/>
              <a:gd name="connsiteY34" fmla="*/ 70161 h 175798"/>
              <a:gd name="connsiteX35" fmla="*/ 149251 w 156878"/>
              <a:gd name="connsiteY35" fmla="*/ 60960 h 175798"/>
              <a:gd name="connsiteX36" fmla="*/ 145219 w 156878"/>
              <a:gd name="connsiteY36" fmla="*/ 52333 h 175798"/>
              <a:gd name="connsiteX37" fmla="*/ 144066 w 156878"/>
              <a:gd name="connsiteY37" fmla="*/ 45432 h 175798"/>
              <a:gd name="connsiteX38" fmla="*/ 144643 w 156878"/>
              <a:gd name="connsiteY38" fmla="*/ 27029 h 175798"/>
              <a:gd name="connsiteX39" fmla="*/ 144643 w 156878"/>
              <a:gd name="connsiteY39" fmla="*/ 24729 h 175798"/>
              <a:gd name="connsiteX40" fmla="*/ 142914 w 156878"/>
              <a:gd name="connsiteY40" fmla="*/ 22429 h 175798"/>
              <a:gd name="connsiteX41" fmla="*/ 132544 w 156878"/>
              <a:gd name="connsiteY41" fmla="*/ 16678 h 175798"/>
              <a:gd name="connsiteX42" fmla="*/ 134272 w 156878"/>
              <a:gd name="connsiteY42" fmla="*/ 6326 h 175798"/>
              <a:gd name="connsiteX43" fmla="*/ 118718 w 156878"/>
              <a:gd name="connsiteY43" fmla="*/ 10352 h 175798"/>
              <a:gd name="connsiteX44" fmla="*/ 99130 w 156878"/>
              <a:gd name="connsiteY44" fmla="*/ 21853 h 175798"/>
              <a:gd name="connsiteX45" fmla="*/ 89913 w 156878"/>
              <a:gd name="connsiteY45" fmla="*/ 14952 h 175798"/>
              <a:gd name="connsiteX46" fmla="*/ 83575 w 156878"/>
              <a:gd name="connsiteY46" fmla="*/ 12077 h 175798"/>
              <a:gd name="connsiteX47" fmla="*/ 70901 w 156878"/>
              <a:gd name="connsiteY47" fmla="*/ 5751 h 175798"/>
              <a:gd name="connsiteX48" fmla="*/ 69749 w 156878"/>
              <a:gd name="connsiteY48" fmla="*/ 1725 h 175798"/>
              <a:gd name="connsiteX49" fmla="*/ 63412 w 156878"/>
              <a:gd name="connsiteY49" fmla="*/ 1725 h 175798"/>
              <a:gd name="connsiteX50" fmla="*/ 47281 w 156878"/>
              <a:gd name="connsiteY50" fmla="*/ 0 h 175798"/>
              <a:gd name="connsiteX51" fmla="*/ 50162 w 156878"/>
              <a:gd name="connsiteY51" fmla="*/ 8051 h 175798"/>
              <a:gd name="connsiteX52" fmla="*/ 54770 w 156878"/>
              <a:gd name="connsiteY52" fmla="*/ 23004 h 175798"/>
              <a:gd name="connsiteX53" fmla="*/ 47281 w 156878"/>
              <a:gd name="connsiteY53" fmla="*/ 29905 h 175798"/>
              <a:gd name="connsiteX54" fmla="*/ 34607 w 156878"/>
              <a:gd name="connsiteY54" fmla="*/ 28179 h 175798"/>
              <a:gd name="connsiteX55" fmla="*/ 21356 w 156878"/>
              <a:gd name="connsiteY55" fmla="*/ 30480 h 175798"/>
              <a:gd name="connsiteX56" fmla="*/ 20780 w 156878"/>
              <a:gd name="connsiteY56" fmla="*/ 33930 h 175798"/>
              <a:gd name="connsiteX57" fmla="*/ 19628 w 156878"/>
              <a:gd name="connsiteY57" fmla="*/ 47733 h 17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6878" h="175798">
                <a:moveTo>
                  <a:pt x="19628" y="47733"/>
                </a:moveTo>
                <a:cubicBezTo>
                  <a:pt x="15595" y="54059"/>
                  <a:pt x="9834" y="54634"/>
                  <a:pt x="10987" y="55784"/>
                </a:cubicBezTo>
                <a:cubicBezTo>
                  <a:pt x="12139" y="57509"/>
                  <a:pt x="18476" y="62685"/>
                  <a:pt x="16748" y="64985"/>
                </a:cubicBezTo>
                <a:cubicBezTo>
                  <a:pt x="15019" y="67861"/>
                  <a:pt x="13291" y="66135"/>
                  <a:pt x="13291" y="70736"/>
                </a:cubicBezTo>
                <a:cubicBezTo>
                  <a:pt x="13291" y="75337"/>
                  <a:pt x="5802" y="75337"/>
                  <a:pt x="3497" y="75337"/>
                </a:cubicBezTo>
                <a:cubicBezTo>
                  <a:pt x="617" y="75337"/>
                  <a:pt x="4073" y="79938"/>
                  <a:pt x="2345" y="83388"/>
                </a:cubicBezTo>
                <a:cubicBezTo>
                  <a:pt x="617" y="86839"/>
                  <a:pt x="617" y="94315"/>
                  <a:pt x="41" y="97190"/>
                </a:cubicBezTo>
                <a:cubicBezTo>
                  <a:pt x="-535" y="100066"/>
                  <a:pt x="5226" y="105242"/>
                  <a:pt x="4649" y="108117"/>
                </a:cubicBezTo>
                <a:cubicBezTo>
                  <a:pt x="4073" y="110992"/>
                  <a:pt x="41" y="112718"/>
                  <a:pt x="1193" y="115018"/>
                </a:cubicBezTo>
                <a:cubicBezTo>
                  <a:pt x="2345" y="116743"/>
                  <a:pt x="5802" y="120194"/>
                  <a:pt x="6954" y="129395"/>
                </a:cubicBezTo>
                <a:cubicBezTo>
                  <a:pt x="8682" y="129970"/>
                  <a:pt x="10410" y="130545"/>
                  <a:pt x="10987" y="131696"/>
                </a:cubicBezTo>
                <a:cubicBezTo>
                  <a:pt x="13291" y="134571"/>
                  <a:pt x="17324" y="136871"/>
                  <a:pt x="22509" y="136871"/>
                </a:cubicBezTo>
                <a:cubicBezTo>
                  <a:pt x="27693" y="136871"/>
                  <a:pt x="29422" y="140322"/>
                  <a:pt x="31726" y="139747"/>
                </a:cubicBezTo>
                <a:cubicBezTo>
                  <a:pt x="34031" y="139172"/>
                  <a:pt x="40368" y="141472"/>
                  <a:pt x="35183" y="145498"/>
                </a:cubicBezTo>
                <a:cubicBezTo>
                  <a:pt x="29998" y="149523"/>
                  <a:pt x="29422" y="154699"/>
                  <a:pt x="28270" y="159875"/>
                </a:cubicBezTo>
                <a:cubicBezTo>
                  <a:pt x="27693" y="163326"/>
                  <a:pt x="27693" y="167926"/>
                  <a:pt x="26541" y="170227"/>
                </a:cubicBezTo>
                <a:cubicBezTo>
                  <a:pt x="31726" y="170802"/>
                  <a:pt x="38639" y="170802"/>
                  <a:pt x="41520" y="169652"/>
                </a:cubicBezTo>
                <a:cubicBezTo>
                  <a:pt x="45553" y="167351"/>
                  <a:pt x="48433" y="167351"/>
                  <a:pt x="53618" y="169077"/>
                </a:cubicBezTo>
                <a:cubicBezTo>
                  <a:pt x="56499" y="170227"/>
                  <a:pt x="61108" y="171952"/>
                  <a:pt x="63988" y="173677"/>
                </a:cubicBezTo>
                <a:cubicBezTo>
                  <a:pt x="64564" y="172527"/>
                  <a:pt x="65140" y="171952"/>
                  <a:pt x="65716" y="171952"/>
                </a:cubicBezTo>
                <a:cubicBezTo>
                  <a:pt x="69173" y="171377"/>
                  <a:pt x="73782" y="178278"/>
                  <a:pt x="76086" y="174827"/>
                </a:cubicBezTo>
                <a:cubicBezTo>
                  <a:pt x="78391" y="170802"/>
                  <a:pt x="83575" y="171952"/>
                  <a:pt x="86456" y="173102"/>
                </a:cubicBezTo>
                <a:cubicBezTo>
                  <a:pt x="89336" y="174827"/>
                  <a:pt x="93369" y="175403"/>
                  <a:pt x="96826" y="172527"/>
                </a:cubicBezTo>
                <a:cubicBezTo>
                  <a:pt x="99706" y="169652"/>
                  <a:pt x="111805" y="167926"/>
                  <a:pt x="114685" y="169077"/>
                </a:cubicBezTo>
                <a:cubicBezTo>
                  <a:pt x="117566" y="170227"/>
                  <a:pt x="124479" y="173102"/>
                  <a:pt x="121598" y="163901"/>
                </a:cubicBezTo>
                <a:cubicBezTo>
                  <a:pt x="118718" y="154699"/>
                  <a:pt x="127359" y="156425"/>
                  <a:pt x="128511" y="152974"/>
                </a:cubicBezTo>
                <a:cubicBezTo>
                  <a:pt x="129664" y="149523"/>
                  <a:pt x="140033" y="147798"/>
                  <a:pt x="138305" y="145498"/>
                </a:cubicBezTo>
                <a:cubicBezTo>
                  <a:pt x="136577" y="142622"/>
                  <a:pt x="123903" y="134571"/>
                  <a:pt x="119870" y="131696"/>
                </a:cubicBezTo>
                <a:cubicBezTo>
                  <a:pt x="115837" y="128820"/>
                  <a:pt x="115837" y="120194"/>
                  <a:pt x="114109" y="116743"/>
                </a:cubicBezTo>
                <a:cubicBezTo>
                  <a:pt x="112381" y="113293"/>
                  <a:pt x="107772" y="108692"/>
                  <a:pt x="112957" y="107542"/>
                </a:cubicBezTo>
                <a:cubicBezTo>
                  <a:pt x="118142" y="106392"/>
                  <a:pt x="126783" y="104666"/>
                  <a:pt x="131392" y="100641"/>
                </a:cubicBezTo>
                <a:cubicBezTo>
                  <a:pt x="135425" y="96615"/>
                  <a:pt x="143490" y="96615"/>
                  <a:pt x="145794" y="94315"/>
                </a:cubicBezTo>
                <a:cubicBezTo>
                  <a:pt x="148099" y="92014"/>
                  <a:pt x="153284" y="96040"/>
                  <a:pt x="155012" y="93740"/>
                </a:cubicBezTo>
                <a:cubicBezTo>
                  <a:pt x="156741" y="91439"/>
                  <a:pt x="157893" y="86839"/>
                  <a:pt x="155588" y="83963"/>
                </a:cubicBezTo>
                <a:cubicBezTo>
                  <a:pt x="153284" y="81088"/>
                  <a:pt x="151555" y="76487"/>
                  <a:pt x="151555" y="70161"/>
                </a:cubicBezTo>
                <a:cubicBezTo>
                  <a:pt x="150980" y="63835"/>
                  <a:pt x="149251" y="63835"/>
                  <a:pt x="149251" y="60960"/>
                </a:cubicBezTo>
                <a:cubicBezTo>
                  <a:pt x="149251" y="58084"/>
                  <a:pt x="148099" y="54059"/>
                  <a:pt x="145219" y="52333"/>
                </a:cubicBezTo>
                <a:cubicBezTo>
                  <a:pt x="142338" y="50608"/>
                  <a:pt x="141186" y="49458"/>
                  <a:pt x="144066" y="45432"/>
                </a:cubicBezTo>
                <a:cubicBezTo>
                  <a:pt x="146947" y="41406"/>
                  <a:pt x="145794" y="30480"/>
                  <a:pt x="144643" y="27029"/>
                </a:cubicBezTo>
                <a:cubicBezTo>
                  <a:pt x="144643" y="26454"/>
                  <a:pt x="144643" y="25879"/>
                  <a:pt x="144643" y="24729"/>
                </a:cubicBezTo>
                <a:cubicBezTo>
                  <a:pt x="144066" y="24154"/>
                  <a:pt x="143490" y="23579"/>
                  <a:pt x="142914" y="22429"/>
                </a:cubicBezTo>
                <a:cubicBezTo>
                  <a:pt x="142338" y="18403"/>
                  <a:pt x="139457" y="16678"/>
                  <a:pt x="132544" y="16678"/>
                </a:cubicBezTo>
                <a:cubicBezTo>
                  <a:pt x="125631" y="16678"/>
                  <a:pt x="136577" y="9777"/>
                  <a:pt x="134272" y="6326"/>
                </a:cubicBezTo>
                <a:cubicBezTo>
                  <a:pt x="131968" y="2875"/>
                  <a:pt x="125055" y="12652"/>
                  <a:pt x="118718" y="10352"/>
                </a:cubicBezTo>
                <a:cubicBezTo>
                  <a:pt x="112381" y="8051"/>
                  <a:pt x="104315" y="17828"/>
                  <a:pt x="99130" y="21853"/>
                </a:cubicBezTo>
                <a:cubicBezTo>
                  <a:pt x="93945" y="25879"/>
                  <a:pt x="85880" y="21278"/>
                  <a:pt x="89913" y="14952"/>
                </a:cubicBezTo>
                <a:cubicBezTo>
                  <a:pt x="93945" y="9201"/>
                  <a:pt x="89913" y="9777"/>
                  <a:pt x="83575" y="12077"/>
                </a:cubicBezTo>
                <a:cubicBezTo>
                  <a:pt x="77238" y="14377"/>
                  <a:pt x="69749" y="11502"/>
                  <a:pt x="70901" y="5751"/>
                </a:cubicBezTo>
                <a:cubicBezTo>
                  <a:pt x="70901" y="4601"/>
                  <a:pt x="70901" y="2875"/>
                  <a:pt x="69749" y="1725"/>
                </a:cubicBezTo>
                <a:cubicBezTo>
                  <a:pt x="66869" y="2300"/>
                  <a:pt x="64564" y="2300"/>
                  <a:pt x="63412" y="1725"/>
                </a:cubicBezTo>
                <a:cubicBezTo>
                  <a:pt x="60531" y="575"/>
                  <a:pt x="54194" y="575"/>
                  <a:pt x="47281" y="0"/>
                </a:cubicBezTo>
                <a:cubicBezTo>
                  <a:pt x="49586" y="2875"/>
                  <a:pt x="51314" y="5751"/>
                  <a:pt x="50162" y="8051"/>
                </a:cubicBezTo>
                <a:cubicBezTo>
                  <a:pt x="47857" y="12652"/>
                  <a:pt x="51314" y="16678"/>
                  <a:pt x="54770" y="23004"/>
                </a:cubicBezTo>
                <a:cubicBezTo>
                  <a:pt x="58227" y="29330"/>
                  <a:pt x="47281" y="25879"/>
                  <a:pt x="47281" y="29905"/>
                </a:cubicBezTo>
                <a:cubicBezTo>
                  <a:pt x="47281" y="33930"/>
                  <a:pt x="37487" y="29905"/>
                  <a:pt x="34607" y="28179"/>
                </a:cubicBezTo>
                <a:cubicBezTo>
                  <a:pt x="31726" y="26454"/>
                  <a:pt x="21356" y="27604"/>
                  <a:pt x="21356" y="30480"/>
                </a:cubicBezTo>
                <a:cubicBezTo>
                  <a:pt x="21356" y="31630"/>
                  <a:pt x="21356" y="32780"/>
                  <a:pt x="20780" y="33930"/>
                </a:cubicBezTo>
                <a:cubicBezTo>
                  <a:pt x="20780" y="40831"/>
                  <a:pt x="21356" y="45432"/>
                  <a:pt x="19628" y="47733"/>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8" name="Freeform 316">
            <a:extLst>
              <a:ext uri="{FF2B5EF4-FFF2-40B4-BE49-F238E27FC236}">
                <a16:creationId xmlns:a16="http://schemas.microsoft.com/office/drawing/2014/main" id="{58EAD63E-933B-06EE-7A91-A45CC3E13EFE}"/>
              </a:ext>
            </a:extLst>
          </p:cNvPr>
          <p:cNvSpPr/>
          <p:nvPr/>
        </p:nvSpPr>
        <p:spPr>
          <a:xfrm>
            <a:off x="7375800" y="2781151"/>
            <a:ext cx="2105657" cy="1742095"/>
          </a:xfrm>
          <a:custGeom>
            <a:avLst/>
            <a:gdLst>
              <a:gd name="connsiteX0" fmla="*/ 224605 w 254467"/>
              <a:gd name="connsiteY0" fmla="*/ 46582 h 210531"/>
              <a:gd name="connsiteX1" fmla="*/ 215387 w 254467"/>
              <a:gd name="connsiteY1" fmla="*/ 43707 h 210531"/>
              <a:gd name="connsiteX2" fmla="*/ 203865 w 254467"/>
              <a:gd name="connsiteY2" fmla="*/ 38531 h 210531"/>
              <a:gd name="connsiteX3" fmla="*/ 185430 w 254467"/>
              <a:gd name="connsiteY3" fmla="*/ 35656 h 210531"/>
              <a:gd name="connsiteX4" fmla="*/ 176212 w 254467"/>
              <a:gd name="connsiteY4" fmla="*/ 29905 h 210531"/>
              <a:gd name="connsiteX5" fmla="*/ 171028 w 254467"/>
              <a:gd name="connsiteY5" fmla="*/ 21853 h 210531"/>
              <a:gd name="connsiteX6" fmla="*/ 163538 w 254467"/>
              <a:gd name="connsiteY6" fmla="*/ 25879 h 210531"/>
              <a:gd name="connsiteX7" fmla="*/ 158353 w 254467"/>
              <a:gd name="connsiteY7" fmla="*/ 20128 h 210531"/>
              <a:gd name="connsiteX8" fmla="*/ 147407 w 254467"/>
              <a:gd name="connsiteY8" fmla="*/ 13802 h 210531"/>
              <a:gd name="connsiteX9" fmla="*/ 138190 w 254467"/>
              <a:gd name="connsiteY9" fmla="*/ 8626 h 210531"/>
              <a:gd name="connsiteX10" fmla="*/ 131852 w 254467"/>
              <a:gd name="connsiteY10" fmla="*/ 2300 h 210531"/>
              <a:gd name="connsiteX11" fmla="*/ 129548 w 254467"/>
              <a:gd name="connsiteY11" fmla="*/ 0 h 210531"/>
              <a:gd name="connsiteX12" fmla="*/ 125515 w 254467"/>
              <a:gd name="connsiteY12" fmla="*/ 575 h 210531"/>
              <a:gd name="connsiteX13" fmla="*/ 115146 w 254467"/>
              <a:gd name="connsiteY13" fmla="*/ 15527 h 210531"/>
              <a:gd name="connsiteX14" fmla="*/ 96710 w 254467"/>
              <a:gd name="connsiteY14" fmla="*/ 27604 h 210531"/>
              <a:gd name="connsiteX15" fmla="*/ 85188 w 254467"/>
              <a:gd name="connsiteY15" fmla="*/ 40256 h 210531"/>
              <a:gd name="connsiteX16" fmla="*/ 63296 w 254467"/>
              <a:gd name="connsiteY16" fmla="*/ 32780 h 210531"/>
              <a:gd name="connsiteX17" fmla="*/ 52927 w 254467"/>
              <a:gd name="connsiteY17" fmla="*/ 39681 h 210531"/>
              <a:gd name="connsiteX18" fmla="*/ 55231 w 254467"/>
              <a:gd name="connsiteY18" fmla="*/ 58084 h 210531"/>
              <a:gd name="connsiteX19" fmla="*/ 39676 w 254467"/>
              <a:gd name="connsiteY19" fmla="*/ 57509 h 210531"/>
              <a:gd name="connsiteX20" fmla="*/ 29306 w 254467"/>
              <a:gd name="connsiteY20" fmla="*/ 52333 h 210531"/>
              <a:gd name="connsiteX21" fmla="*/ 12023 w 254467"/>
              <a:gd name="connsiteY21" fmla="*/ 54058 h 210531"/>
              <a:gd name="connsiteX22" fmla="*/ 1077 w 254467"/>
              <a:gd name="connsiteY22" fmla="*/ 62110 h 210531"/>
              <a:gd name="connsiteX23" fmla="*/ 3382 w 254467"/>
              <a:gd name="connsiteY23" fmla="*/ 73036 h 210531"/>
              <a:gd name="connsiteX24" fmla="*/ 26426 w 254467"/>
              <a:gd name="connsiteY24" fmla="*/ 80513 h 210531"/>
              <a:gd name="connsiteX25" fmla="*/ 41980 w 254467"/>
              <a:gd name="connsiteY25" fmla="*/ 84538 h 210531"/>
              <a:gd name="connsiteX26" fmla="*/ 47742 w 254467"/>
              <a:gd name="connsiteY26" fmla="*/ 92014 h 210531"/>
              <a:gd name="connsiteX27" fmla="*/ 61568 w 254467"/>
              <a:gd name="connsiteY27" fmla="*/ 106967 h 210531"/>
              <a:gd name="connsiteX28" fmla="*/ 66177 w 254467"/>
              <a:gd name="connsiteY28" fmla="*/ 120769 h 210531"/>
              <a:gd name="connsiteX29" fmla="*/ 63296 w 254467"/>
              <a:gd name="connsiteY29" fmla="*/ 141472 h 210531"/>
              <a:gd name="connsiteX30" fmla="*/ 55231 w 254467"/>
              <a:gd name="connsiteY30" fmla="*/ 173102 h 210531"/>
              <a:gd name="connsiteX31" fmla="*/ 54079 w 254467"/>
              <a:gd name="connsiteY31" fmla="*/ 173102 h 210531"/>
              <a:gd name="connsiteX32" fmla="*/ 63872 w 254467"/>
              <a:gd name="connsiteY32" fmla="*/ 178278 h 210531"/>
              <a:gd name="connsiteX33" fmla="*/ 81155 w 254467"/>
              <a:gd name="connsiteY33" fmla="*/ 186329 h 210531"/>
              <a:gd name="connsiteX34" fmla="*/ 94982 w 254467"/>
              <a:gd name="connsiteY34" fmla="*/ 185179 h 210531"/>
              <a:gd name="connsiteX35" fmla="*/ 103047 w 254467"/>
              <a:gd name="connsiteY35" fmla="*/ 186904 h 210531"/>
              <a:gd name="connsiteX36" fmla="*/ 123787 w 254467"/>
              <a:gd name="connsiteY36" fmla="*/ 192080 h 210531"/>
              <a:gd name="connsiteX37" fmla="*/ 141646 w 254467"/>
              <a:gd name="connsiteY37" fmla="*/ 192655 h 210531"/>
              <a:gd name="connsiteX38" fmla="*/ 140494 w 254467"/>
              <a:gd name="connsiteY38" fmla="*/ 188054 h 210531"/>
              <a:gd name="connsiteX39" fmla="*/ 154896 w 254467"/>
              <a:gd name="connsiteY39" fmla="*/ 170802 h 210531"/>
              <a:gd name="connsiteX40" fmla="*/ 187158 w 254467"/>
              <a:gd name="connsiteY40" fmla="*/ 177703 h 210531"/>
              <a:gd name="connsiteX41" fmla="*/ 207322 w 254467"/>
              <a:gd name="connsiteY41" fmla="*/ 170802 h 210531"/>
              <a:gd name="connsiteX42" fmla="*/ 218268 w 254467"/>
              <a:gd name="connsiteY42" fmla="*/ 163901 h 210531"/>
              <a:gd name="connsiteX43" fmla="*/ 219996 w 254467"/>
              <a:gd name="connsiteY43" fmla="*/ 158150 h 210531"/>
              <a:gd name="connsiteX44" fmla="*/ 211931 w 254467"/>
              <a:gd name="connsiteY44" fmla="*/ 155274 h 210531"/>
              <a:gd name="connsiteX45" fmla="*/ 207898 w 254467"/>
              <a:gd name="connsiteY45" fmla="*/ 146648 h 210531"/>
              <a:gd name="connsiteX46" fmla="*/ 202713 w 254467"/>
              <a:gd name="connsiteY46" fmla="*/ 137447 h 210531"/>
              <a:gd name="connsiteX47" fmla="*/ 206170 w 254467"/>
              <a:gd name="connsiteY47" fmla="*/ 133421 h 210531"/>
              <a:gd name="connsiteX48" fmla="*/ 209626 w 254467"/>
              <a:gd name="connsiteY48" fmla="*/ 126520 h 210531"/>
              <a:gd name="connsiteX49" fmla="*/ 207898 w 254467"/>
              <a:gd name="connsiteY49" fmla="*/ 117893 h 210531"/>
              <a:gd name="connsiteX50" fmla="*/ 205017 w 254467"/>
              <a:gd name="connsiteY50" fmla="*/ 109267 h 210531"/>
              <a:gd name="connsiteX51" fmla="*/ 197528 w 254467"/>
              <a:gd name="connsiteY51" fmla="*/ 108692 h 210531"/>
              <a:gd name="connsiteX52" fmla="*/ 195224 w 254467"/>
              <a:gd name="connsiteY52" fmla="*/ 102941 h 210531"/>
              <a:gd name="connsiteX53" fmla="*/ 206746 w 254467"/>
              <a:gd name="connsiteY53" fmla="*/ 89139 h 210531"/>
              <a:gd name="connsiteX54" fmla="*/ 215964 w 254467"/>
              <a:gd name="connsiteY54" fmla="*/ 81663 h 210531"/>
              <a:gd name="connsiteX55" fmla="*/ 219996 w 254467"/>
              <a:gd name="connsiteY55" fmla="*/ 68436 h 210531"/>
              <a:gd name="connsiteX56" fmla="*/ 226909 w 254467"/>
              <a:gd name="connsiteY56" fmla="*/ 54058 h 210531"/>
              <a:gd name="connsiteX57" fmla="*/ 224605 w 254467"/>
              <a:gd name="connsiteY57" fmla="*/ 46582 h 210531"/>
              <a:gd name="connsiteX58" fmla="*/ 252258 w 254467"/>
              <a:gd name="connsiteY58" fmla="*/ 178278 h 210531"/>
              <a:gd name="connsiteX59" fmla="*/ 241312 w 254467"/>
              <a:gd name="connsiteY59" fmla="*/ 187479 h 210531"/>
              <a:gd name="connsiteX60" fmla="*/ 248802 w 254467"/>
              <a:gd name="connsiteY60" fmla="*/ 210483 h 210531"/>
              <a:gd name="connsiteX61" fmla="*/ 252258 w 254467"/>
              <a:gd name="connsiteY61" fmla="*/ 178278 h 21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54467" h="210531">
                <a:moveTo>
                  <a:pt x="224605" y="46582"/>
                </a:moveTo>
                <a:cubicBezTo>
                  <a:pt x="222301" y="47157"/>
                  <a:pt x="220572" y="43707"/>
                  <a:pt x="215387" y="43707"/>
                </a:cubicBezTo>
                <a:cubicBezTo>
                  <a:pt x="210203" y="43707"/>
                  <a:pt x="206746" y="41406"/>
                  <a:pt x="203865" y="38531"/>
                </a:cubicBezTo>
                <a:cubicBezTo>
                  <a:pt x="201561" y="35656"/>
                  <a:pt x="189463" y="34505"/>
                  <a:pt x="185430" y="35656"/>
                </a:cubicBezTo>
                <a:cubicBezTo>
                  <a:pt x="181397" y="36231"/>
                  <a:pt x="180245" y="29330"/>
                  <a:pt x="176212" y="29905"/>
                </a:cubicBezTo>
                <a:cubicBezTo>
                  <a:pt x="172180" y="30480"/>
                  <a:pt x="171028" y="24729"/>
                  <a:pt x="171028" y="21853"/>
                </a:cubicBezTo>
                <a:cubicBezTo>
                  <a:pt x="171028" y="18978"/>
                  <a:pt x="166995" y="24154"/>
                  <a:pt x="163538" y="25879"/>
                </a:cubicBezTo>
                <a:cubicBezTo>
                  <a:pt x="160082" y="27604"/>
                  <a:pt x="158929" y="22428"/>
                  <a:pt x="158353" y="20128"/>
                </a:cubicBezTo>
                <a:cubicBezTo>
                  <a:pt x="157777" y="17828"/>
                  <a:pt x="150864" y="15527"/>
                  <a:pt x="147407" y="13802"/>
                </a:cubicBezTo>
                <a:cubicBezTo>
                  <a:pt x="143951" y="12077"/>
                  <a:pt x="139918" y="5751"/>
                  <a:pt x="138190" y="8626"/>
                </a:cubicBezTo>
                <a:cubicBezTo>
                  <a:pt x="136461" y="11502"/>
                  <a:pt x="132429" y="4601"/>
                  <a:pt x="131852" y="2300"/>
                </a:cubicBezTo>
                <a:cubicBezTo>
                  <a:pt x="131852" y="575"/>
                  <a:pt x="130124" y="1150"/>
                  <a:pt x="129548" y="0"/>
                </a:cubicBezTo>
                <a:cubicBezTo>
                  <a:pt x="128396" y="0"/>
                  <a:pt x="126668" y="575"/>
                  <a:pt x="125515" y="575"/>
                </a:cubicBezTo>
                <a:cubicBezTo>
                  <a:pt x="119178" y="575"/>
                  <a:pt x="113993" y="5176"/>
                  <a:pt x="115146" y="15527"/>
                </a:cubicBezTo>
                <a:cubicBezTo>
                  <a:pt x="116298" y="25879"/>
                  <a:pt x="107656" y="27029"/>
                  <a:pt x="96710" y="27604"/>
                </a:cubicBezTo>
                <a:cubicBezTo>
                  <a:pt x="86340" y="28179"/>
                  <a:pt x="89797" y="36806"/>
                  <a:pt x="85188" y="40256"/>
                </a:cubicBezTo>
                <a:cubicBezTo>
                  <a:pt x="80579" y="43707"/>
                  <a:pt x="65025" y="38531"/>
                  <a:pt x="63296" y="32780"/>
                </a:cubicBezTo>
                <a:cubicBezTo>
                  <a:pt x="60992" y="27029"/>
                  <a:pt x="47166" y="32780"/>
                  <a:pt x="52927" y="39681"/>
                </a:cubicBezTo>
                <a:cubicBezTo>
                  <a:pt x="58688" y="46582"/>
                  <a:pt x="58688" y="55784"/>
                  <a:pt x="55231" y="58084"/>
                </a:cubicBezTo>
                <a:cubicBezTo>
                  <a:pt x="51774" y="60960"/>
                  <a:pt x="44861" y="54058"/>
                  <a:pt x="39676" y="57509"/>
                </a:cubicBezTo>
                <a:cubicBezTo>
                  <a:pt x="35067" y="60960"/>
                  <a:pt x="34491" y="54634"/>
                  <a:pt x="29306" y="52333"/>
                </a:cubicBezTo>
                <a:cubicBezTo>
                  <a:pt x="23545" y="50033"/>
                  <a:pt x="21241" y="54634"/>
                  <a:pt x="12023" y="54058"/>
                </a:cubicBezTo>
                <a:cubicBezTo>
                  <a:pt x="2806" y="53483"/>
                  <a:pt x="-2379" y="58659"/>
                  <a:pt x="1077" y="62110"/>
                </a:cubicBezTo>
                <a:cubicBezTo>
                  <a:pt x="4534" y="66135"/>
                  <a:pt x="501" y="69586"/>
                  <a:pt x="3382" y="73036"/>
                </a:cubicBezTo>
                <a:cubicBezTo>
                  <a:pt x="6262" y="76487"/>
                  <a:pt x="17784" y="75912"/>
                  <a:pt x="26426" y="80513"/>
                </a:cubicBezTo>
                <a:cubicBezTo>
                  <a:pt x="35067" y="85113"/>
                  <a:pt x="37372" y="81088"/>
                  <a:pt x="41980" y="84538"/>
                </a:cubicBezTo>
                <a:cubicBezTo>
                  <a:pt x="46589" y="87989"/>
                  <a:pt x="47166" y="85688"/>
                  <a:pt x="47742" y="92014"/>
                </a:cubicBezTo>
                <a:cubicBezTo>
                  <a:pt x="47742" y="98340"/>
                  <a:pt x="52927" y="104666"/>
                  <a:pt x="61568" y="106967"/>
                </a:cubicBezTo>
                <a:cubicBezTo>
                  <a:pt x="70210" y="109267"/>
                  <a:pt x="63872" y="115018"/>
                  <a:pt x="66177" y="120769"/>
                </a:cubicBezTo>
                <a:cubicBezTo>
                  <a:pt x="68481" y="126520"/>
                  <a:pt x="62144" y="134571"/>
                  <a:pt x="63296" y="141472"/>
                </a:cubicBezTo>
                <a:cubicBezTo>
                  <a:pt x="64449" y="148373"/>
                  <a:pt x="59264" y="170802"/>
                  <a:pt x="55231" y="173102"/>
                </a:cubicBezTo>
                <a:cubicBezTo>
                  <a:pt x="55231" y="173102"/>
                  <a:pt x="54655" y="173102"/>
                  <a:pt x="54079" y="173102"/>
                </a:cubicBezTo>
                <a:cubicBezTo>
                  <a:pt x="58111" y="174827"/>
                  <a:pt x="62144" y="176553"/>
                  <a:pt x="63872" y="178278"/>
                </a:cubicBezTo>
                <a:cubicBezTo>
                  <a:pt x="67905" y="180578"/>
                  <a:pt x="75971" y="183454"/>
                  <a:pt x="81155" y="186329"/>
                </a:cubicBezTo>
                <a:cubicBezTo>
                  <a:pt x="86340" y="189205"/>
                  <a:pt x="94982" y="188630"/>
                  <a:pt x="94982" y="185179"/>
                </a:cubicBezTo>
                <a:cubicBezTo>
                  <a:pt x="94982" y="181153"/>
                  <a:pt x="100167" y="184029"/>
                  <a:pt x="103047" y="186904"/>
                </a:cubicBezTo>
                <a:cubicBezTo>
                  <a:pt x="105928" y="189780"/>
                  <a:pt x="118026" y="190930"/>
                  <a:pt x="123787" y="192080"/>
                </a:cubicBezTo>
                <a:cubicBezTo>
                  <a:pt x="128396" y="193230"/>
                  <a:pt x="135309" y="192655"/>
                  <a:pt x="141646" y="192655"/>
                </a:cubicBezTo>
                <a:cubicBezTo>
                  <a:pt x="141646" y="191505"/>
                  <a:pt x="141070" y="189780"/>
                  <a:pt x="140494" y="188054"/>
                </a:cubicBezTo>
                <a:cubicBezTo>
                  <a:pt x="137613" y="177703"/>
                  <a:pt x="146255" y="171952"/>
                  <a:pt x="154896" y="170802"/>
                </a:cubicBezTo>
                <a:cubicBezTo>
                  <a:pt x="163538" y="169652"/>
                  <a:pt x="181973" y="174827"/>
                  <a:pt x="187158" y="177703"/>
                </a:cubicBezTo>
                <a:cubicBezTo>
                  <a:pt x="192343" y="180578"/>
                  <a:pt x="198681" y="180003"/>
                  <a:pt x="207322" y="170802"/>
                </a:cubicBezTo>
                <a:cubicBezTo>
                  <a:pt x="211355" y="166201"/>
                  <a:pt x="215387" y="164476"/>
                  <a:pt x="218268" y="163901"/>
                </a:cubicBezTo>
                <a:cubicBezTo>
                  <a:pt x="218268" y="161600"/>
                  <a:pt x="219420" y="159875"/>
                  <a:pt x="219996" y="158150"/>
                </a:cubicBezTo>
                <a:cubicBezTo>
                  <a:pt x="221148" y="155274"/>
                  <a:pt x="215964" y="155849"/>
                  <a:pt x="211931" y="155274"/>
                </a:cubicBezTo>
                <a:cubicBezTo>
                  <a:pt x="207898" y="154699"/>
                  <a:pt x="205594" y="151249"/>
                  <a:pt x="207898" y="146648"/>
                </a:cubicBezTo>
                <a:cubicBezTo>
                  <a:pt x="210779" y="142622"/>
                  <a:pt x="205594" y="142047"/>
                  <a:pt x="202713" y="137447"/>
                </a:cubicBezTo>
                <a:cubicBezTo>
                  <a:pt x="199833" y="133421"/>
                  <a:pt x="203865" y="134571"/>
                  <a:pt x="206170" y="133421"/>
                </a:cubicBezTo>
                <a:cubicBezTo>
                  <a:pt x="208474" y="132271"/>
                  <a:pt x="211355" y="127670"/>
                  <a:pt x="209626" y="126520"/>
                </a:cubicBezTo>
                <a:cubicBezTo>
                  <a:pt x="207898" y="125370"/>
                  <a:pt x="206170" y="122494"/>
                  <a:pt x="207898" y="117893"/>
                </a:cubicBezTo>
                <a:cubicBezTo>
                  <a:pt x="209626" y="113293"/>
                  <a:pt x="205017" y="112718"/>
                  <a:pt x="205017" y="109267"/>
                </a:cubicBezTo>
                <a:cubicBezTo>
                  <a:pt x="205017" y="105817"/>
                  <a:pt x="200985" y="104091"/>
                  <a:pt x="197528" y="108692"/>
                </a:cubicBezTo>
                <a:cubicBezTo>
                  <a:pt x="194072" y="112718"/>
                  <a:pt x="192919" y="109842"/>
                  <a:pt x="195224" y="102941"/>
                </a:cubicBezTo>
                <a:cubicBezTo>
                  <a:pt x="197528" y="96040"/>
                  <a:pt x="205594" y="92590"/>
                  <a:pt x="206746" y="89139"/>
                </a:cubicBezTo>
                <a:cubicBezTo>
                  <a:pt x="207322" y="85113"/>
                  <a:pt x="211931" y="81663"/>
                  <a:pt x="215964" y="81663"/>
                </a:cubicBezTo>
                <a:cubicBezTo>
                  <a:pt x="219420" y="81663"/>
                  <a:pt x="218844" y="73612"/>
                  <a:pt x="219996" y="68436"/>
                </a:cubicBezTo>
                <a:cubicBezTo>
                  <a:pt x="221148" y="63260"/>
                  <a:pt x="221725" y="58084"/>
                  <a:pt x="226909" y="54058"/>
                </a:cubicBezTo>
                <a:cubicBezTo>
                  <a:pt x="233247" y="48308"/>
                  <a:pt x="226909" y="46007"/>
                  <a:pt x="224605" y="46582"/>
                </a:cubicBezTo>
                <a:close/>
                <a:moveTo>
                  <a:pt x="252258" y="178278"/>
                </a:moveTo>
                <a:cubicBezTo>
                  <a:pt x="249377" y="178278"/>
                  <a:pt x="248802" y="183454"/>
                  <a:pt x="241312" y="187479"/>
                </a:cubicBezTo>
                <a:cubicBezTo>
                  <a:pt x="233823" y="192080"/>
                  <a:pt x="241312" y="211633"/>
                  <a:pt x="248802" y="210483"/>
                </a:cubicBezTo>
                <a:cubicBezTo>
                  <a:pt x="256291" y="209908"/>
                  <a:pt x="255139" y="178853"/>
                  <a:pt x="252258" y="178278"/>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99" name="Freeform 351">
            <a:extLst>
              <a:ext uri="{FF2B5EF4-FFF2-40B4-BE49-F238E27FC236}">
                <a16:creationId xmlns:a16="http://schemas.microsoft.com/office/drawing/2014/main" id="{94AE2701-E604-41AB-8325-2097190F0C6D}"/>
              </a:ext>
            </a:extLst>
          </p:cNvPr>
          <p:cNvSpPr/>
          <p:nvPr/>
        </p:nvSpPr>
        <p:spPr>
          <a:xfrm>
            <a:off x="6739385" y="4123114"/>
            <a:ext cx="1837960" cy="1313850"/>
          </a:xfrm>
          <a:custGeom>
            <a:avLst/>
            <a:gdLst>
              <a:gd name="connsiteX0" fmla="*/ 220284 w 222116"/>
              <a:gd name="connsiteY0" fmla="*/ 28755 h 158778"/>
              <a:gd name="connsiteX1" fmla="*/ 202425 w 222116"/>
              <a:gd name="connsiteY1" fmla="*/ 28179 h 158778"/>
              <a:gd name="connsiteX2" fmla="*/ 181686 w 222116"/>
              <a:gd name="connsiteY2" fmla="*/ 23004 h 158778"/>
              <a:gd name="connsiteX3" fmla="*/ 173620 w 222116"/>
              <a:gd name="connsiteY3" fmla="*/ 21278 h 158778"/>
              <a:gd name="connsiteX4" fmla="*/ 159794 w 222116"/>
              <a:gd name="connsiteY4" fmla="*/ 22429 h 158778"/>
              <a:gd name="connsiteX5" fmla="*/ 142511 w 222116"/>
              <a:gd name="connsiteY5" fmla="*/ 14377 h 158778"/>
              <a:gd name="connsiteX6" fmla="*/ 132717 w 222116"/>
              <a:gd name="connsiteY6" fmla="*/ 9201 h 158778"/>
              <a:gd name="connsiteX7" fmla="*/ 102184 w 222116"/>
              <a:gd name="connsiteY7" fmla="*/ 5751 h 158778"/>
              <a:gd name="connsiteX8" fmla="*/ 44573 w 222116"/>
              <a:gd name="connsiteY8" fmla="*/ 5176 h 158778"/>
              <a:gd name="connsiteX9" fmla="*/ 23257 w 222116"/>
              <a:gd name="connsiteY9" fmla="*/ 0 h 158778"/>
              <a:gd name="connsiteX10" fmla="*/ 8855 w 222116"/>
              <a:gd name="connsiteY10" fmla="*/ 9201 h 158778"/>
              <a:gd name="connsiteX11" fmla="*/ 4822 w 222116"/>
              <a:gd name="connsiteY11" fmla="*/ 21853 h 158778"/>
              <a:gd name="connsiteX12" fmla="*/ 7703 w 222116"/>
              <a:gd name="connsiteY12" fmla="*/ 39106 h 158778"/>
              <a:gd name="connsiteX13" fmla="*/ 12312 w 222116"/>
              <a:gd name="connsiteY13" fmla="*/ 37381 h 158778"/>
              <a:gd name="connsiteX14" fmla="*/ 18649 w 222116"/>
              <a:gd name="connsiteY14" fmla="*/ 37956 h 158778"/>
              <a:gd name="connsiteX15" fmla="*/ 29595 w 222116"/>
              <a:gd name="connsiteY15" fmla="*/ 40256 h 158778"/>
              <a:gd name="connsiteX16" fmla="*/ 36508 w 222116"/>
              <a:gd name="connsiteY16" fmla="*/ 40256 h 158778"/>
              <a:gd name="connsiteX17" fmla="*/ 47454 w 222116"/>
              <a:gd name="connsiteY17" fmla="*/ 41982 h 158778"/>
              <a:gd name="connsiteX18" fmla="*/ 52063 w 222116"/>
              <a:gd name="connsiteY18" fmla="*/ 48883 h 158778"/>
              <a:gd name="connsiteX19" fmla="*/ 40541 w 222116"/>
              <a:gd name="connsiteY19" fmla="*/ 59234 h 158778"/>
              <a:gd name="connsiteX20" fmla="*/ 41693 w 222116"/>
              <a:gd name="connsiteY20" fmla="*/ 75337 h 158778"/>
              <a:gd name="connsiteX21" fmla="*/ 38812 w 222116"/>
              <a:gd name="connsiteY21" fmla="*/ 87414 h 158778"/>
              <a:gd name="connsiteX22" fmla="*/ 34203 w 222116"/>
              <a:gd name="connsiteY22" fmla="*/ 94315 h 158778"/>
              <a:gd name="connsiteX23" fmla="*/ 39388 w 222116"/>
              <a:gd name="connsiteY23" fmla="*/ 103516 h 158778"/>
              <a:gd name="connsiteX24" fmla="*/ 34779 w 222116"/>
              <a:gd name="connsiteY24" fmla="*/ 112718 h 158778"/>
              <a:gd name="connsiteX25" fmla="*/ 38812 w 222116"/>
              <a:gd name="connsiteY25" fmla="*/ 121344 h 158778"/>
              <a:gd name="connsiteX26" fmla="*/ 31899 w 222116"/>
              <a:gd name="connsiteY26" fmla="*/ 132271 h 158778"/>
              <a:gd name="connsiteX27" fmla="*/ 34203 w 222116"/>
              <a:gd name="connsiteY27" fmla="*/ 138022 h 158778"/>
              <a:gd name="connsiteX28" fmla="*/ 43421 w 222116"/>
              <a:gd name="connsiteY28" fmla="*/ 138597 h 158778"/>
              <a:gd name="connsiteX29" fmla="*/ 64737 w 222116"/>
              <a:gd name="connsiteY29" fmla="*/ 158725 h 158778"/>
              <a:gd name="connsiteX30" fmla="*/ 68770 w 222116"/>
              <a:gd name="connsiteY30" fmla="*/ 152974 h 158778"/>
              <a:gd name="connsiteX31" fmla="*/ 79139 w 222116"/>
              <a:gd name="connsiteY31" fmla="*/ 152399 h 158778"/>
              <a:gd name="connsiteX32" fmla="*/ 95270 w 222116"/>
              <a:gd name="connsiteY32" fmla="*/ 146073 h 158778"/>
              <a:gd name="connsiteX33" fmla="*/ 117738 w 222116"/>
              <a:gd name="connsiteY33" fmla="*/ 145498 h 158778"/>
              <a:gd name="connsiteX34" fmla="*/ 130413 w 222116"/>
              <a:gd name="connsiteY34" fmla="*/ 139172 h 158778"/>
              <a:gd name="connsiteX35" fmla="*/ 144239 w 222116"/>
              <a:gd name="connsiteY35" fmla="*/ 129970 h 158778"/>
              <a:gd name="connsiteX36" fmla="*/ 150576 w 222116"/>
              <a:gd name="connsiteY36" fmla="*/ 117318 h 158778"/>
              <a:gd name="connsiteX37" fmla="*/ 163250 w 222116"/>
              <a:gd name="connsiteY37" fmla="*/ 104091 h 158778"/>
              <a:gd name="connsiteX38" fmla="*/ 163250 w 222116"/>
              <a:gd name="connsiteY38" fmla="*/ 78212 h 158778"/>
              <a:gd name="connsiteX39" fmla="*/ 177653 w 222116"/>
              <a:gd name="connsiteY39" fmla="*/ 60960 h 158778"/>
              <a:gd name="connsiteX40" fmla="*/ 193784 w 222116"/>
              <a:gd name="connsiteY40" fmla="*/ 52333 h 158778"/>
              <a:gd name="connsiteX41" fmla="*/ 212795 w 222116"/>
              <a:gd name="connsiteY41" fmla="*/ 41982 h 158778"/>
              <a:gd name="connsiteX42" fmla="*/ 220284 w 222116"/>
              <a:gd name="connsiteY42" fmla="*/ 28755 h 158778"/>
              <a:gd name="connsiteX43" fmla="*/ 222013 w 222116"/>
              <a:gd name="connsiteY43" fmla="*/ 85688 h 158778"/>
              <a:gd name="connsiteX44" fmla="*/ 206458 w 222116"/>
              <a:gd name="connsiteY44" fmla="*/ 90864 h 158778"/>
              <a:gd name="connsiteX45" fmla="*/ 222013 w 222116"/>
              <a:gd name="connsiteY45" fmla="*/ 85688 h 15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22116" h="158778">
                <a:moveTo>
                  <a:pt x="220284" y="28755"/>
                </a:moveTo>
                <a:cubicBezTo>
                  <a:pt x="213947" y="28755"/>
                  <a:pt x="207034" y="29330"/>
                  <a:pt x="202425" y="28179"/>
                </a:cubicBezTo>
                <a:cubicBezTo>
                  <a:pt x="196664" y="27029"/>
                  <a:pt x="184566" y="26454"/>
                  <a:pt x="181686" y="23004"/>
                </a:cubicBezTo>
                <a:cubicBezTo>
                  <a:pt x="178805" y="20128"/>
                  <a:pt x="173620" y="17253"/>
                  <a:pt x="173620" y="21278"/>
                </a:cubicBezTo>
                <a:cubicBezTo>
                  <a:pt x="173620" y="25304"/>
                  <a:pt x="164979" y="25879"/>
                  <a:pt x="159794" y="22429"/>
                </a:cubicBezTo>
                <a:cubicBezTo>
                  <a:pt x="154609" y="19553"/>
                  <a:pt x="146543" y="16678"/>
                  <a:pt x="142511" y="14377"/>
                </a:cubicBezTo>
                <a:cubicBezTo>
                  <a:pt x="140782" y="13227"/>
                  <a:pt x="136174" y="11502"/>
                  <a:pt x="132717" y="9201"/>
                </a:cubicBezTo>
                <a:cubicBezTo>
                  <a:pt x="127532" y="10352"/>
                  <a:pt x="112554" y="4601"/>
                  <a:pt x="102184" y="5751"/>
                </a:cubicBezTo>
                <a:cubicBezTo>
                  <a:pt x="91814" y="6901"/>
                  <a:pt x="57824" y="4026"/>
                  <a:pt x="44573" y="5176"/>
                </a:cubicBezTo>
                <a:cubicBezTo>
                  <a:pt x="31323" y="6326"/>
                  <a:pt x="30747" y="0"/>
                  <a:pt x="23257" y="0"/>
                </a:cubicBezTo>
                <a:cubicBezTo>
                  <a:pt x="15768" y="0"/>
                  <a:pt x="19225" y="8626"/>
                  <a:pt x="8855" y="9201"/>
                </a:cubicBezTo>
                <a:cubicBezTo>
                  <a:pt x="-1515" y="9201"/>
                  <a:pt x="-2667" y="16103"/>
                  <a:pt x="4822" y="21853"/>
                </a:cubicBezTo>
                <a:cubicBezTo>
                  <a:pt x="8855" y="25304"/>
                  <a:pt x="8855" y="32205"/>
                  <a:pt x="7703" y="39106"/>
                </a:cubicBezTo>
                <a:cubicBezTo>
                  <a:pt x="10007" y="39106"/>
                  <a:pt x="11159" y="38531"/>
                  <a:pt x="12312" y="37381"/>
                </a:cubicBezTo>
                <a:cubicBezTo>
                  <a:pt x="15192" y="33355"/>
                  <a:pt x="18649" y="34505"/>
                  <a:pt x="18649" y="37956"/>
                </a:cubicBezTo>
                <a:cubicBezTo>
                  <a:pt x="18649" y="41982"/>
                  <a:pt x="25562" y="40256"/>
                  <a:pt x="29595" y="40256"/>
                </a:cubicBezTo>
                <a:cubicBezTo>
                  <a:pt x="33627" y="40256"/>
                  <a:pt x="31899" y="43132"/>
                  <a:pt x="36508" y="40256"/>
                </a:cubicBezTo>
                <a:cubicBezTo>
                  <a:pt x="41117" y="37381"/>
                  <a:pt x="47454" y="38531"/>
                  <a:pt x="47454" y="41982"/>
                </a:cubicBezTo>
                <a:cubicBezTo>
                  <a:pt x="47454" y="46007"/>
                  <a:pt x="56671" y="43707"/>
                  <a:pt x="52063" y="48883"/>
                </a:cubicBezTo>
                <a:cubicBezTo>
                  <a:pt x="46878" y="54059"/>
                  <a:pt x="40541" y="55209"/>
                  <a:pt x="40541" y="59234"/>
                </a:cubicBezTo>
                <a:cubicBezTo>
                  <a:pt x="40541" y="63260"/>
                  <a:pt x="46302" y="71311"/>
                  <a:pt x="41693" y="75337"/>
                </a:cubicBezTo>
                <a:cubicBezTo>
                  <a:pt x="37084" y="79938"/>
                  <a:pt x="42845" y="87414"/>
                  <a:pt x="38812" y="87414"/>
                </a:cubicBezTo>
                <a:cubicBezTo>
                  <a:pt x="34203" y="87414"/>
                  <a:pt x="29595" y="89139"/>
                  <a:pt x="34203" y="94315"/>
                </a:cubicBezTo>
                <a:cubicBezTo>
                  <a:pt x="39388" y="99491"/>
                  <a:pt x="42845" y="103516"/>
                  <a:pt x="39388" y="103516"/>
                </a:cubicBezTo>
                <a:cubicBezTo>
                  <a:pt x="35356" y="103516"/>
                  <a:pt x="33051" y="110992"/>
                  <a:pt x="34779" y="112718"/>
                </a:cubicBezTo>
                <a:cubicBezTo>
                  <a:pt x="36508" y="114443"/>
                  <a:pt x="45725" y="120194"/>
                  <a:pt x="38812" y="121344"/>
                </a:cubicBezTo>
                <a:cubicBezTo>
                  <a:pt x="31899" y="122494"/>
                  <a:pt x="31899" y="128245"/>
                  <a:pt x="31899" y="132271"/>
                </a:cubicBezTo>
                <a:cubicBezTo>
                  <a:pt x="31899" y="133421"/>
                  <a:pt x="33051" y="135721"/>
                  <a:pt x="34203" y="138022"/>
                </a:cubicBezTo>
                <a:cubicBezTo>
                  <a:pt x="37660" y="137447"/>
                  <a:pt x="40541" y="137447"/>
                  <a:pt x="43421" y="138597"/>
                </a:cubicBezTo>
                <a:cubicBezTo>
                  <a:pt x="50910" y="142047"/>
                  <a:pt x="54943" y="159875"/>
                  <a:pt x="64737" y="158725"/>
                </a:cubicBezTo>
                <a:cubicBezTo>
                  <a:pt x="68770" y="158150"/>
                  <a:pt x="67041" y="155274"/>
                  <a:pt x="68770" y="152974"/>
                </a:cubicBezTo>
                <a:cubicBezTo>
                  <a:pt x="71074" y="150674"/>
                  <a:pt x="74531" y="152399"/>
                  <a:pt x="79139" y="152399"/>
                </a:cubicBezTo>
                <a:cubicBezTo>
                  <a:pt x="83172" y="152399"/>
                  <a:pt x="85477" y="146648"/>
                  <a:pt x="95270" y="146073"/>
                </a:cubicBezTo>
                <a:cubicBezTo>
                  <a:pt x="105064" y="146073"/>
                  <a:pt x="111401" y="144923"/>
                  <a:pt x="117738" y="145498"/>
                </a:cubicBezTo>
                <a:cubicBezTo>
                  <a:pt x="124076" y="145498"/>
                  <a:pt x="128684" y="143773"/>
                  <a:pt x="130413" y="139172"/>
                </a:cubicBezTo>
                <a:cubicBezTo>
                  <a:pt x="132141" y="134571"/>
                  <a:pt x="137326" y="131121"/>
                  <a:pt x="144239" y="129970"/>
                </a:cubicBezTo>
                <a:cubicBezTo>
                  <a:pt x="151152" y="128820"/>
                  <a:pt x="150000" y="121919"/>
                  <a:pt x="150576" y="117318"/>
                </a:cubicBezTo>
                <a:cubicBezTo>
                  <a:pt x="151152" y="113293"/>
                  <a:pt x="162674" y="106967"/>
                  <a:pt x="163250" y="104091"/>
                </a:cubicBezTo>
                <a:cubicBezTo>
                  <a:pt x="163826" y="101216"/>
                  <a:pt x="156337" y="89139"/>
                  <a:pt x="163250" y="78212"/>
                </a:cubicBezTo>
                <a:cubicBezTo>
                  <a:pt x="170164" y="67861"/>
                  <a:pt x="177653" y="67286"/>
                  <a:pt x="177653" y="60960"/>
                </a:cubicBezTo>
                <a:cubicBezTo>
                  <a:pt x="177653" y="55784"/>
                  <a:pt x="185142" y="53483"/>
                  <a:pt x="193784" y="52333"/>
                </a:cubicBezTo>
                <a:cubicBezTo>
                  <a:pt x="202425" y="51183"/>
                  <a:pt x="205306" y="45432"/>
                  <a:pt x="212795" y="41982"/>
                </a:cubicBezTo>
                <a:cubicBezTo>
                  <a:pt x="219133" y="40831"/>
                  <a:pt x="221437" y="36231"/>
                  <a:pt x="220284" y="28755"/>
                </a:cubicBezTo>
                <a:close/>
                <a:moveTo>
                  <a:pt x="222013" y="85688"/>
                </a:moveTo>
                <a:cubicBezTo>
                  <a:pt x="220861" y="77062"/>
                  <a:pt x="203001" y="88564"/>
                  <a:pt x="206458" y="90864"/>
                </a:cubicBezTo>
                <a:cubicBezTo>
                  <a:pt x="214523" y="96040"/>
                  <a:pt x="223165" y="94315"/>
                  <a:pt x="222013" y="85688"/>
                </a:cubicBezTo>
                <a:close/>
              </a:path>
            </a:pathLst>
          </a:custGeom>
          <a:solidFill>
            <a:sysClr val="window" lastClr="FFFFFF"/>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0" name="Freeform 352">
            <a:extLst>
              <a:ext uri="{FF2B5EF4-FFF2-40B4-BE49-F238E27FC236}">
                <a16:creationId xmlns:a16="http://schemas.microsoft.com/office/drawing/2014/main" id="{4A52E447-4B8D-D55F-E0DE-C1B00FBE3FA2}"/>
              </a:ext>
            </a:extLst>
          </p:cNvPr>
          <p:cNvSpPr/>
          <p:nvPr/>
        </p:nvSpPr>
        <p:spPr>
          <a:xfrm>
            <a:off x="9961755" y="3561171"/>
            <a:ext cx="483450" cy="262139"/>
          </a:xfrm>
          <a:custGeom>
            <a:avLst/>
            <a:gdLst>
              <a:gd name="connsiteX0" fmla="*/ 239 w 58424"/>
              <a:gd name="connsiteY0" fmla="*/ 27654 h 31679"/>
              <a:gd name="connsiteX1" fmla="*/ 11185 w 58424"/>
              <a:gd name="connsiteY1" fmla="*/ 26504 h 31679"/>
              <a:gd name="connsiteX2" fmla="*/ 14065 w 58424"/>
              <a:gd name="connsiteY2" fmla="*/ 31680 h 31679"/>
              <a:gd name="connsiteX3" fmla="*/ 26163 w 58424"/>
              <a:gd name="connsiteY3" fmla="*/ 29379 h 31679"/>
              <a:gd name="connsiteX4" fmla="*/ 37109 w 58424"/>
              <a:gd name="connsiteY4" fmla="*/ 29954 h 31679"/>
              <a:gd name="connsiteX5" fmla="*/ 43446 w 58424"/>
              <a:gd name="connsiteY5" fmla="*/ 22478 h 31679"/>
              <a:gd name="connsiteX6" fmla="*/ 47479 w 58424"/>
              <a:gd name="connsiteY6" fmla="*/ 13852 h 31679"/>
              <a:gd name="connsiteX7" fmla="*/ 58425 w 58424"/>
              <a:gd name="connsiteY7" fmla="*/ 6376 h 31679"/>
              <a:gd name="connsiteX8" fmla="*/ 54392 w 58424"/>
              <a:gd name="connsiteY8" fmla="*/ 50 h 31679"/>
              <a:gd name="connsiteX9" fmla="*/ 42294 w 58424"/>
              <a:gd name="connsiteY9" fmla="*/ 4075 h 31679"/>
              <a:gd name="connsiteX10" fmla="*/ 27315 w 58424"/>
              <a:gd name="connsiteY10" fmla="*/ 9251 h 31679"/>
              <a:gd name="connsiteX11" fmla="*/ 7728 w 58424"/>
              <a:gd name="connsiteY11" fmla="*/ 5801 h 31679"/>
              <a:gd name="connsiteX12" fmla="*/ 815 w 58424"/>
              <a:gd name="connsiteY12" fmla="*/ 5226 h 31679"/>
              <a:gd name="connsiteX13" fmla="*/ 239 w 58424"/>
              <a:gd name="connsiteY13" fmla="*/ 27654 h 3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24" h="31679">
                <a:moveTo>
                  <a:pt x="239" y="27654"/>
                </a:moveTo>
                <a:cubicBezTo>
                  <a:pt x="4271" y="25929"/>
                  <a:pt x="8880" y="25354"/>
                  <a:pt x="11185" y="26504"/>
                </a:cubicBezTo>
                <a:cubicBezTo>
                  <a:pt x="13489" y="27079"/>
                  <a:pt x="14065" y="29379"/>
                  <a:pt x="14065" y="31680"/>
                </a:cubicBezTo>
                <a:cubicBezTo>
                  <a:pt x="17522" y="31105"/>
                  <a:pt x="24435" y="29954"/>
                  <a:pt x="26163" y="29379"/>
                </a:cubicBezTo>
                <a:cubicBezTo>
                  <a:pt x="29044" y="28229"/>
                  <a:pt x="36533" y="32255"/>
                  <a:pt x="37109" y="29954"/>
                </a:cubicBezTo>
                <a:cubicBezTo>
                  <a:pt x="37685" y="27654"/>
                  <a:pt x="39990" y="22478"/>
                  <a:pt x="43446" y="22478"/>
                </a:cubicBezTo>
                <a:cubicBezTo>
                  <a:pt x="46327" y="22478"/>
                  <a:pt x="44599" y="14427"/>
                  <a:pt x="47479" y="13852"/>
                </a:cubicBezTo>
                <a:cubicBezTo>
                  <a:pt x="50360" y="13277"/>
                  <a:pt x="58425" y="6376"/>
                  <a:pt x="58425" y="6376"/>
                </a:cubicBezTo>
                <a:cubicBezTo>
                  <a:pt x="58425" y="6376"/>
                  <a:pt x="55544" y="50"/>
                  <a:pt x="54392" y="50"/>
                </a:cubicBezTo>
                <a:cubicBezTo>
                  <a:pt x="53240" y="-525"/>
                  <a:pt x="49207" y="4075"/>
                  <a:pt x="42294" y="4075"/>
                </a:cubicBezTo>
                <a:cubicBezTo>
                  <a:pt x="35381" y="4075"/>
                  <a:pt x="30196" y="9251"/>
                  <a:pt x="27315" y="9251"/>
                </a:cubicBezTo>
                <a:cubicBezTo>
                  <a:pt x="24435" y="9251"/>
                  <a:pt x="14641" y="6376"/>
                  <a:pt x="7728" y="5801"/>
                </a:cubicBezTo>
                <a:cubicBezTo>
                  <a:pt x="5424" y="5801"/>
                  <a:pt x="3119" y="5226"/>
                  <a:pt x="815" y="5226"/>
                </a:cubicBezTo>
                <a:cubicBezTo>
                  <a:pt x="239" y="10401"/>
                  <a:pt x="-337" y="19603"/>
                  <a:pt x="239" y="2765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1" name="Freeform 353">
            <a:extLst>
              <a:ext uri="{FF2B5EF4-FFF2-40B4-BE49-F238E27FC236}">
                <a16:creationId xmlns:a16="http://schemas.microsoft.com/office/drawing/2014/main" id="{D9C52EBC-87E6-4436-4930-F9CDCAF0F879}"/>
              </a:ext>
            </a:extLst>
          </p:cNvPr>
          <p:cNvSpPr/>
          <p:nvPr/>
        </p:nvSpPr>
        <p:spPr>
          <a:xfrm>
            <a:off x="10960054" y="4470507"/>
            <a:ext cx="921348" cy="1151608"/>
          </a:xfrm>
          <a:custGeom>
            <a:avLst/>
            <a:gdLst>
              <a:gd name="connsiteX0" fmla="*/ 110035 w 111344"/>
              <a:gd name="connsiteY0" fmla="*/ 0 h 139171"/>
              <a:gd name="connsiteX1" fmla="*/ 101394 w 111344"/>
              <a:gd name="connsiteY1" fmla="*/ 4026 h 139171"/>
              <a:gd name="connsiteX2" fmla="*/ 94481 w 111344"/>
              <a:gd name="connsiteY2" fmla="*/ 8051 h 139171"/>
              <a:gd name="connsiteX3" fmla="*/ 76045 w 111344"/>
              <a:gd name="connsiteY3" fmla="*/ 5176 h 139171"/>
              <a:gd name="connsiteX4" fmla="*/ 52425 w 111344"/>
              <a:gd name="connsiteY4" fmla="*/ 5176 h 139171"/>
              <a:gd name="connsiteX5" fmla="*/ 51849 w 111344"/>
              <a:gd name="connsiteY5" fmla="*/ 5751 h 139171"/>
              <a:gd name="connsiteX6" fmla="*/ 35718 w 111344"/>
              <a:gd name="connsiteY6" fmla="*/ 13227 h 139171"/>
              <a:gd name="connsiteX7" fmla="*/ 27653 w 111344"/>
              <a:gd name="connsiteY7" fmla="*/ 18403 h 139171"/>
              <a:gd name="connsiteX8" fmla="*/ 15554 w 111344"/>
              <a:gd name="connsiteY8" fmla="*/ 20128 h 139171"/>
              <a:gd name="connsiteX9" fmla="*/ 9218 w 111344"/>
              <a:gd name="connsiteY9" fmla="*/ 30480 h 139171"/>
              <a:gd name="connsiteX10" fmla="*/ 5185 w 111344"/>
              <a:gd name="connsiteY10" fmla="*/ 36806 h 139171"/>
              <a:gd name="connsiteX11" fmla="*/ 0 w 111344"/>
              <a:gd name="connsiteY11" fmla="*/ 46007 h 139171"/>
              <a:gd name="connsiteX12" fmla="*/ 576 w 111344"/>
              <a:gd name="connsiteY12" fmla="*/ 46582 h 139171"/>
              <a:gd name="connsiteX13" fmla="*/ 9793 w 111344"/>
              <a:gd name="connsiteY13" fmla="*/ 61535 h 139171"/>
              <a:gd name="connsiteX14" fmla="*/ 22468 w 111344"/>
              <a:gd name="connsiteY14" fmla="*/ 65560 h 139171"/>
              <a:gd name="connsiteX15" fmla="*/ 38023 w 111344"/>
              <a:gd name="connsiteY15" fmla="*/ 71311 h 139171"/>
              <a:gd name="connsiteX16" fmla="*/ 19587 w 111344"/>
              <a:gd name="connsiteY16" fmla="*/ 73036 h 139171"/>
              <a:gd name="connsiteX17" fmla="*/ 23044 w 111344"/>
              <a:gd name="connsiteY17" fmla="*/ 87989 h 139171"/>
              <a:gd name="connsiteX18" fmla="*/ 32262 w 111344"/>
              <a:gd name="connsiteY18" fmla="*/ 100066 h 139171"/>
              <a:gd name="connsiteX19" fmla="*/ 48392 w 111344"/>
              <a:gd name="connsiteY19" fmla="*/ 107542 h 139171"/>
              <a:gd name="connsiteX20" fmla="*/ 45512 w 111344"/>
              <a:gd name="connsiteY20" fmla="*/ 89714 h 139171"/>
              <a:gd name="connsiteX21" fmla="*/ 57610 w 111344"/>
              <a:gd name="connsiteY21" fmla="*/ 89139 h 139171"/>
              <a:gd name="connsiteX22" fmla="*/ 49545 w 111344"/>
              <a:gd name="connsiteY22" fmla="*/ 82238 h 139171"/>
              <a:gd name="connsiteX23" fmla="*/ 55882 w 111344"/>
              <a:gd name="connsiteY23" fmla="*/ 78787 h 139171"/>
              <a:gd name="connsiteX24" fmla="*/ 68556 w 111344"/>
              <a:gd name="connsiteY24" fmla="*/ 77062 h 139171"/>
              <a:gd name="connsiteX25" fmla="*/ 62795 w 111344"/>
              <a:gd name="connsiteY25" fmla="*/ 62685 h 139171"/>
              <a:gd name="connsiteX26" fmla="*/ 48392 w 111344"/>
              <a:gd name="connsiteY26" fmla="*/ 63260 h 139171"/>
              <a:gd name="connsiteX27" fmla="*/ 54153 w 111344"/>
              <a:gd name="connsiteY27" fmla="*/ 54058 h 139171"/>
              <a:gd name="connsiteX28" fmla="*/ 39751 w 111344"/>
              <a:gd name="connsiteY28" fmla="*/ 34505 h 139171"/>
              <a:gd name="connsiteX29" fmla="*/ 48969 w 111344"/>
              <a:gd name="connsiteY29" fmla="*/ 29330 h 139171"/>
              <a:gd name="connsiteX30" fmla="*/ 62795 w 111344"/>
              <a:gd name="connsiteY30" fmla="*/ 31630 h 139171"/>
              <a:gd name="connsiteX31" fmla="*/ 66252 w 111344"/>
              <a:gd name="connsiteY31" fmla="*/ 18403 h 139171"/>
              <a:gd name="connsiteX32" fmla="*/ 76622 w 111344"/>
              <a:gd name="connsiteY32" fmla="*/ 21853 h 139171"/>
              <a:gd name="connsiteX33" fmla="*/ 89872 w 111344"/>
              <a:gd name="connsiteY33" fmla="*/ 15527 h 139171"/>
              <a:gd name="connsiteX34" fmla="*/ 101970 w 111344"/>
              <a:gd name="connsiteY34" fmla="*/ 21278 h 139171"/>
              <a:gd name="connsiteX35" fmla="*/ 106003 w 111344"/>
              <a:gd name="connsiteY35" fmla="*/ 15527 h 139171"/>
              <a:gd name="connsiteX36" fmla="*/ 111188 w 111344"/>
              <a:gd name="connsiteY36" fmla="*/ 7476 h 139171"/>
              <a:gd name="connsiteX37" fmla="*/ 110035 w 111344"/>
              <a:gd name="connsiteY37" fmla="*/ 0 h 139171"/>
              <a:gd name="connsiteX38" fmla="*/ 95633 w 111344"/>
              <a:gd name="connsiteY38" fmla="*/ 130545 h 139171"/>
              <a:gd name="connsiteX39" fmla="*/ 67980 w 111344"/>
              <a:gd name="connsiteY39" fmla="*/ 127670 h 139171"/>
              <a:gd name="connsiteX40" fmla="*/ 57610 w 111344"/>
              <a:gd name="connsiteY40" fmla="*/ 132271 h 139171"/>
              <a:gd name="connsiteX41" fmla="*/ 83535 w 111344"/>
              <a:gd name="connsiteY41" fmla="*/ 139172 h 139171"/>
              <a:gd name="connsiteX42" fmla="*/ 107155 w 111344"/>
              <a:gd name="connsiteY42" fmla="*/ 131696 h 139171"/>
              <a:gd name="connsiteX43" fmla="*/ 95633 w 111344"/>
              <a:gd name="connsiteY43" fmla="*/ 130545 h 13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1344" h="139171">
                <a:moveTo>
                  <a:pt x="110035" y="0"/>
                </a:moveTo>
                <a:cubicBezTo>
                  <a:pt x="106003" y="575"/>
                  <a:pt x="100818" y="1725"/>
                  <a:pt x="101394" y="4026"/>
                </a:cubicBezTo>
                <a:cubicBezTo>
                  <a:pt x="102546" y="6326"/>
                  <a:pt x="98513" y="8051"/>
                  <a:pt x="94481" y="8051"/>
                </a:cubicBezTo>
                <a:cubicBezTo>
                  <a:pt x="94481" y="8051"/>
                  <a:pt x="80078" y="6901"/>
                  <a:pt x="76045" y="5176"/>
                </a:cubicBezTo>
                <a:cubicBezTo>
                  <a:pt x="73165" y="3451"/>
                  <a:pt x="59339" y="4601"/>
                  <a:pt x="52425" y="5176"/>
                </a:cubicBezTo>
                <a:cubicBezTo>
                  <a:pt x="52425" y="5176"/>
                  <a:pt x="52425" y="5751"/>
                  <a:pt x="51849" y="5751"/>
                </a:cubicBezTo>
                <a:cubicBezTo>
                  <a:pt x="50121" y="8051"/>
                  <a:pt x="38023" y="14377"/>
                  <a:pt x="35718" y="13227"/>
                </a:cubicBezTo>
                <a:cubicBezTo>
                  <a:pt x="33414" y="12077"/>
                  <a:pt x="32262" y="17253"/>
                  <a:pt x="27653" y="18403"/>
                </a:cubicBezTo>
                <a:cubicBezTo>
                  <a:pt x="23044" y="19553"/>
                  <a:pt x="16131" y="17828"/>
                  <a:pt x="15554" y="20128"/>
                </a:cubicBezTo>
                <a:cubicBezTo>
                  <a:pt x="14979" y="21853"/>
                  <a:pt x="12098" y="27604"/>
                  <a:pt x="9218" y="30480"/>
                </a:cubicBezTo>
                <a:cubicBezTo>
                  <a:pt x="6337" y="33355"/>
                  <a:pt x="8642" y="36231"/>
                  <a:pt x="5185" y="36806"/>
                </a:cubicBezTo>
                <a:cubicBezTo>
                  <a:pt x="2881" y="37381"/>
                  <a:pt x="1728" y="41982"/>
                  <a:pt x="0" y="46007"/>
                </a:cubicBezTo>
                <a:cubicBezTo>
                  <a:pt x="0" y="46007"/>
                  <a:pt x="576" y="46582"/>
                  <a:pt x="576" y="46582"/>
                </a:cubicBezTo>
                <a:cubicBezTo>
                  <a:pt x="6337" y="48308"/>
                  <a:pt x="10946" y="55209"/>
                  <a:pt x="9793" y="61535"/>
                </a:cubicBezTo>
                <a:cubicBezTo>
                  <a:pt x="9218" y="67861"/>
                  <a:pt x="17859" y="70161"/>
                  <a:pt x="22468" y="65560"/>
                </a:cubicBezTo>
                <a:cubicBezTo>
                  <a:pt x="26501" y="60960"/>
                  <a:pt x="38023" y="68436"/>
                  <a:pt x="38023" y="71311"/>
                </a:cubicBezTo>
                <a:cubicBezTo>
                  <a:pt x="38023" y="74187"/>
                  <a:pt x="25925" y="67861"/>
                  <a:pt x="19587" y="73036"/>
                </a:cubicBezTo>
                <a:cubicBezTo>
                  <a:pt x="12674" y="78212"/>
                  <a:pt x="24772" y="82813"/>
                  <a:pt x="23044" y="87989"/>
                </a:cubicBezTo>
                <a:cubicBezTo>
                  <a:pt x="21316" y="93165"/>
                  <a:pt x="25925" y="100641"/>
                  <a:pt x="32262" y="100066"/>
                </a:cubicBezTo>
                <a:cubicBezTo>
                  <a:pt x="38023" y="100066"/>
                  <a:pt x="44936" y="109842"/>
                  <a:pt x="48392" y="107542"/>
                </a:cubicBezTo>
                <a:cubicBezTo>
                  <a:pt x="51849" y="105817"/>
                  <a:pt x="43784" y="92014"/>
                  <a:pt x="45512" y="89714"/>
                </a:cubicBezTo>
                <a:cubicBezTo>
                  <a:pt x="46664" y="87414"/>
                  <a:pt x="54153" y="93165"/>
                  <a:pt x="57610" y="89139"/>
                </a:cubicBezTo>
                <a:cubicBezTo>
                  <a:pt x="61067" y="85113"/>
                  <a:pt x="55306" y="81663"/>
                  <a:pt x="49545" y="82238"/>
                </a:cubicBezTo>
                <a:cubicBezTo>
                  <a:pt x="44360" y="82238"/>
                  <a:pt x="49545" y="74762"/>
                  <a:pt x="55882" y="78787"/>
                </a:cubicBezTo>
                <a:cubicBezTo>
                  <a:pt x="62219" y="82813"/>
                  <a:pt x="65676" y="77637"/>
                  <a:pt x="68556" y="77062"/>
                </a:cubicBezTo>
                <a:cubicBezTo>
                  <a:pt x="71437" y="76487"/>
                  <a:pt x="72589" y="65560"/>
                  <a:pt x="62795" y="62685"/>
                </a:cubicBezTo>
                <a:cubicBezTo>
                  <a:pt x="53001" y="60384"/>
                  <a:pt x="54730" y="69586"/>
                  <a:pt x="48392" y="63260"/>
                </a:cubicBezTo>
                <a:cubicBezTo>
                  <a:pt x="42055" y="56934"/>
                  <a:pt x="54153" y="59234"/>
                  <a:pt x="54153" y="54058"/>
                </a:cubicBezTo>
                <a:cubicBezTo>
                  <a:pt x="54153" y="48883"/>
                  <a:pt x="44360" y="40831"/>
                  <a:pt x="39751" y="34505"/>
                </a:cubicBezTo>
                <a:cubicBezTo>
                  <a:pt x="35142" y="28179"/>
                  <a:pt x="46088" y="24729"/>
                  <a:pt x="48969" y="29330"/>
                </a:cubicBezTo>
                <a:cubicBezTo>
                  <a:pt x="51849" y="33930"/>
                  <a:pt x="58762" y="33355"/>
                  <a:pt x="62795" y="31630"/>
                </a:cubicBezTo>
                <a:cubicBezTo>
                  <a:pt x="67404" y="29905"/>
                  <a:pt x="58186" y="21278"/>
                  <a:pt x="66252" y="18403"/>
                </a:cubicBezTo>
                <a:cubicBezTo>
                  <a:pt x="74317" y="15527"/>
                  <a:pt x="74317" y="20703"/>
                  <a:pt x="76622" y="21853"/>
                </a:cubicBezTo>
                <a:cubicBezTo>
                  <a:pt x="78926" y="23004"/>
                  <a:pt x="81806" y="15527"/>
                  <a:pt x="89872" y="15527"/>
                </a:cubicBezTo>
                <a:cubicBezTo>
                  <a:pt x="93905" y="15527"/>
                  <a:pt x="97937" y="18403"/>
                  <a:pt x="101970" y="21278"/>
                </a:cubicBezTo>
                <a:cubicBezTo>
                  <a:pt x="104274" y="18978"/>
                  <a:pt x="106003" y="17253"/>
                  <a:pt x="106003" y="15527"/>
                </a:cubicBezTo>
                <a:cubicBezTo>
                  <a:pt x="106003" y="12652"/>
                  <a:pt x="111188" y="11502"/>
                  <a:pt x="111188" y="7476"/>
                </a:cubicBezTo>
                <a:cubicBezTo>
                  <a:pt x="111764" y="5176"/>
                  <a:pt x="110611" y="2300"/>
                  <a:pt x="110035" y="0"/>
                </a:cubicBezTo>
                <a:close/>
                <a:moveTo>
                  <a:pt x="95633" y="130545"/>
                </a:moveTo>
                <a:cubicBezTo>
                  <a:pt x="91600" y="128245"/>
                  <a:pt x="72589" y="132271"/>
                  <a:pt x="67980" y="127670"/>
                </a:cubicBezTo>
                <a:cubicBezTo>
                  <a:pt x="62795" y="123069"/>
                  <a:pt x="53001" y="131121"/>
                  <a:pt x="57610" y="132271"/>
                </a:cubicBezTo>
                <a:cubicBezTo>
                  <a:pt x="63947" y="133421"/>
                  <a:pt x="73165" y="138597"/>
                  <a:pt x="83535" y="139172"/>
                </a:cubicBezTo>
                <a:cubicBezTo>
                  <a:pt x="93905" y="139172"/>
                  <a:pt x="107155" y="134571"/>
                  <a:pt x="107155" y="131696"/>
                </a:cubicBezTo>
                <a:cubicBezTo>
                  <a:pt x="106003" y="128820"/>
                  <a:pt x="99666" y="132846"/>
                  <a:pt x="95633" y="130545"/>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2" name="Freeform 354">
            <a:extLst>
              <a:ext uri="{FF2B5EF4-FFF2-40B4-BE49-F238E27FC236}">
                <a16:creationId xmlns:a16="http://schemas.microsoft.com/office/drawing/2014/main" id="{FF9DDA2F-D6DD-28D9-E0F4-90BFE54D5DAB}"/>
              </a:ext>
            </a:extLst>
          </p:cNvPr>
          <p:cNvSpPr/>
          <p:nvPr/>
        </p:nvSpPr>
        <p:spPr>
          <a:xfrm>
            <a:off x="12701957" y="5483370"/>
            <a:ext cx="332225" cy="190855"/>
          </a:xfrm>
          <a:custGeom>
            <a:avLst/>
            <a:gdLst>
              <a:gd name="connsiteX0" fmla="*/ 27423 w 40149"/>
              <a:gd name="connsiteY0" fmla="*/ 15618 h 23065"/>
              <a:gd name="connsiteX1" fmla="*/ 36641 w 40149"/>
              <a:gd name="connsiteY1" fmla="*/ 4691 h 23065"/>
              <a:gd name="connsiteX2" fmla="*/ 36641 w 40149"/>
              <a:gd name="connsiteY2" fmla="*/ 1241 h 23065"/>
              <a:gd name="connsiteX3" fmla="*/ 11868 w 40149"/>
              <a:gd name="connsiteY3" fmla="*/ 8717 h 23065"/>
              <a:gd name="connsiteX4" fmla="*/ 3803 w 40149"/>
              <a:gd name="connsiteY4" fmla="*/ 21369 h 23065"/>
              <a:gd name="connsiteX5" fmla="*/ 27423 w 40149"/>
              <a:gd name="connsiteY5" fmla="*/ 15618 h 2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49" h="23065">
                <a:moveTo>
                  <a:pt x="27423" y="15618"/>
                </a:moveTo>
                <a:cubicBezTo>
                  <a:pt x="26847" y="12743"/>
                  <a:pt x="30880" y="6992"/>
                  <a:pt x="36641" y="4691"/>
                </a:cubicBezTo>
                <a:cubicBezTo>
                  <a:pt x="42402" y="2391"/>
                  <a:pt x="40098" y="-2210"/>
                  <a:pt x="36641" y="1241"/>
                </a:cubicBezTo>
                <a:cubicBezTo>
                  <a:pt x="32608" y="4691"/>
                  <a:pt x="23390" y="8142"/>
                  <a:pt x="11868" y="8717"/>
                </a:cubicBezTo>
                <a:cubicBezTo>
                  <a:pt x="346" y="9292"/>
                  <a:pt x="-3686" y="16768"/>
                  <a:pt x="3803" y="21369"/>
                </a:cubicBezTo>
                <a:cubicBezTo>
                  <a:pt x="13021" y="26545"/>
                  <a:pt x="27999" y="18493"/>
                  <a:pt x="27423" y="15618"/>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3" name="Freeform 356">
            <a:extLst>
              <a:ext uri="{FF2B5EF4-FFF2-40B4-BE49-F238E27FC236}">
                <a16:creationId xmlns:a16="http://schemas.microsoft.com/office/drawing/2014/main" id="{51D2D89E-7FD9-4A7D-B4A8-A68442AE1388}"/>
              </a:ext>
            </a:extLst>
          </p:cNvPr>
          <p:cNvSpPr/>
          <p:nvPr/>
        </p:nvSpPr>
        <p:spPr>
          <a:xfrm>
            <a:off x="6576382" y="1956856"/>
            <a:ext cx="610438" cy="719591"/>
          </a:xfrm>
          <a:custGeom>
            <a:avLst/>
            <a:gdLst>
              <a:gd name="connsiteX0" fmla="*/ 69458 w 73771"/>
              <a:gd name="connsiteY0" fmla="*/ 27154 h 86962"/>
              <a:gd name="connsiteX1" fmla="*/ 63697 w 73771"/>
              <a:gd name="connsiteY1" fmla="*/ 21978 h 86962"/>
              <a:gd name="connsiteX2" fmla="*/ 53327 w 73771"/>
              <a:gd name="connsiteY2" fmla="*/ 24853 h 86962"/>
              <a:gd name="connsiteX3" fmla="*/ 42381 w 73771"/>
              <a:gd name="connsiteY3" fmla="*/ 22553 h 86962"/>
              <a:gd name="connsiteX4" fmla="*/ 46414 w 73771"/>
              <a:gd name="connsiteY4" fmla="*/ 12201 h 86962"/>
              <a:gd name="connsiteX5" fmla="*/ 51022 w 73771"/>
              <a:gd name="connsiteY5" fmla="*/ 2425 h 86962"/>
              <a:gd name="connsiteX6" fmla="*/ 48718 w 73771"/>
              <a:gd name="connsiteY6" fmla="*/ 1850 h 86962"/>
              <a:gd name="connsiteX7" fmla="*/ 30859 w 73771"/>
              <a:gd name="connsiteY7" fmla="*/ 5300 h 86962"/>
              <a:gd name="connsiteX8" fmla="*/ 38924 w 73771"/>
              <a:gd name="connsiteY8" fmla="*/ 13351 h 86962"/>
              <a:gd name="connsiteX9" fmla="*/ 24522 w 73771"/>
              <a:gd name="connsiteY9" fmla="*/ 20828 h 86962"/>
              <a:gd name="connsiteX10" fmla="*/ 6087 w 73771"/>
              <a:gd name="connsiteY10" fmla="*/ 20828 h 86962"/>
              <a:gd name="connsiteX11" fmla="*/ 8391 w 73771"/>
              <a:gd name="connsiteY11" fmla="*/ 34055 h 86962"/>
              <a:gd name="connsiteX12" fmla="*/ 16456 w 73771"/>
              <a:gd name="connsiteY12" fmla="*/ 46707 h 86962"/>
              <a:gd name="connsiteX13" fmla="*/ 11848 w 73771"/>
              <a:gd name="connsiteY13" fmla="*/ 61659 h 86962"/>
              <a:gd name="connsiteX14" fmla="*/ 325 w 73771"/>
              <a:gd name="connsiteY14" fmla="*/ 73161 h 86962"/>
              <a:gd name="connsiteX15" fmla="*/ 17609 w 73771"/>
              <a:gd name="connsiteY15" fmla="*/ 86963 h 86962"/>
              <a:gd name="connsiteX16" fmla="*/ 48142 w 73771"/>
              <a:gd name="connsiteY16" fmla="*/ 74311 h 86962"/>
              <a:gd name="connsiteX17" fmla="*/ 69458 w 73771"/>
              <a:gd name="connsiteY17" fmla="*/ 69710 h 86962"/>
              <a:gd name="connsiteX18" fmla="*/ 69458 w 73771"/>
              <a:gd name="connsiteY18" fmla="*/ 28879 h 86962"/>
              <a:gd name="connsiteX19" fmla="*/ 69458 w 73771"/>
              <a:gd name="connsiteY19" fmla="*/ 27154 h 8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771" h="86962">
                <a:moveTo>
                  <a:pt x="69458" y="27154"/>
                </a:moveTo>
                <a:cubicBezTo>
                  <a:pt x="67153" y="25428"/>
                  <a:pt x="65425" y="23703"/>
                  <a:pt x="63697" y="21978"/>
                </a:cubicBezTo>
                <a:cubicBezTo>
                  <a:pt x="56783" y="13927"/>
                  <a:pt x="54479" y="20252"/>
                  <a:pt x="53327" y="24853"/>
                </a:cubicBezTo>
                <a:cubicBezTo>
                  <a:pt x="52751" y="29454"/>
                  <a:pt x="46414" y="23128"/>
                  <a:pt x="42381" y="22553"/>
                </a:cubicBezTo>
                <a:cubicBezTo>
                  <a:pt x="38348" y="21978"/>
                  <a:pt x="43533" y="14502"/>
                  <a:pt x="46414" y="12201"/>
                </a:cubicBezTo>
                <a:cubicBezTo>
                  <a:pt x="48142" y="11051"/>
                  <a:pt x="49870" y="7025"/>
                  <a:pt x="51022" y="2425"/>
                </a:cubicBezTo>
                <a:cubicBezTo>
                  <a:pt x="50446" y="2425"/>
                  <a:pt x="49294" y="2425"/>
                  <a:pt x="48718" y="1850"/>
                </a:cubicBezTo>
                <a:cubicBezTo>
                  <a:pt x="41229" y="-1026"/>
                  <a:pt x="31435" y="-1026"/>
                  <a:pt x="30859" y="5300"/>
                </a:cubicBezTo>
                <a:cubicBezTo>
                  <a:pt x="30859" y="11626"/>
                  <a:pt x="38924" y="9326"/>
                  <a:pt x="38924" y="13351"/>
                </a:cubicBezTo>
                <a:cubicBezTo>
                  <a:pt x="38924" y="17377"/>
                  <a:pt x="30859" y="16227"/>
                  <a:pt x="24522" y="20828"/>
                </a:cubicBezTo>
                <a:cubicBezTo>
                  <a:pt x="18761" y="24853"/>
                  <a:pt x="11848" y="17952"/>
                  <a:pt x="6087" y="20828"/>
                </a:cubicBezTo>
                <a:cubicBezTo>
                  <a:pt x="-251" y="23703"/>
                  <a:pt x="13000" y="27729"/>
                  <a:pt x="8391" y="34055"/>
                </a:cubicBezTo>
                <a:cubicBezTo>
                  <a:pt x="3782" y="40381"/>
                  <a:pt x="8391" y="40381"/>
                  <a:pt x="16456" y="46707"/>
                </a:cubicBezTo>
                <a:cubicBezTo>
                  <a:pt x="23946" y="53033"/>
                  <a:pt x="11848" y="54183"/>
                  <a:pt x="11848" y="61659"/>
                </a:cubicBezTo>
                <a:cubicBezTo>
                  <a:pt x="11848" y="68560"/>
                  <a:pt x="2054" y="68560"/>
                  <a:pt x="325" y="73161"/>
                </a:cubicBezTo>
                <a:cubicBezTo>
                  <a:pt x="-1979" y="77761"/>
                  <a:pt x="8391" y="86963"/>
                  <a:pt x="17609" y="86963"/>
                </a:cubicBezTo>
                <a:cubicBezTo>
                  <a:pt x="23946" y="86963"/>
                  <a:pt x="38924" y="82937"/>
                  <a:pt x="48142" y="74311"/>
                </a:cubicBezTo>
                <a:cubicBezTo>
                  <a:pt x="56783" y="66260"/>
                  <a:pt x="61392" y="74311"/>
                  <a:pt x="69458" y="69710"/>
                </a:cubicBezTo>
                <a:cubicBezTo>
                  <a:pt x="77523" y="65685"/>
                  <a:pt x="72338" y="35205"/>
                  <a:pt x="69458" y="28879"/>
                </a:cubicBezTo>
                <a:cubicBezTo>
                  <a:pt x="68882" y="28879"/>
                  <a:pt x="68882" y="28304"/>
                  <a:pt x="69458" y="2715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4" name="Freeform 357">
            <a:extLst>
              <a:ext uri="{FF2B5EF4-FFF2-40B4-BE49-F238E27FC236}">
                <a16:creationId xmlns:a16="http://schemas.microsoft.com/office/drawing/2014/main" id="{0DF7EC0D-6239-D211-948F-8D8D40C50080}"/>
              </a:ext>
            </a:extLst>
          </p:cNvPr>
          <p:cNvSpPr/>
          <p:nvPr/>
        </p:nvSpPr>
        <p:spPr>
          <a:xfrm>
            <a:off x="6914837" y="781449"/>
            <a:ext cx="1437718" cy="2195709"/>
          </a:xfrm>
          <a:custGeom>
            <a:avLst/>
            <a:gdLst>
              <a:gd name="connsiteX0" fmla="*/ 32012 w 173747"/>
              <a:gd name="connsiteY0" fmla="*/ 141597 h 265350"/>
              <a:gd name="connsiteX1" fmla="*/ 10120 w 173747"/>
              <a:gd name="connsiteY1" fmla="*/ 145047 h 265350"/>
              <a:gd name="connsiteX2" fmla="*/ 5511 w 173747"/>
              <a:gd name="connsiteY2" fmla="*/ 154824 h 265350"/>
              <a:gd name="connsiteX3" fmla="*/ 1479 w 173747"/>
              <a:gd name="connsiteY3" fmla="*/ 165176 h 265350"/>
              <a:gd name="connsiteX4" fmla="*/ 12425 w 173747"/>
              <a:gd name="connsiteY4" fmla="*/ 167476 h 265350"/>
              <a:gd name="connsiteX5" fmla="*/ 22795 w 173747"/>
              <a:gd name="connsiteY5" fmla="*/ 164600 h 265350"/>
              <a:gd name="connsiteX6" fmla="*/ 28556 w 173747"/>
              <a:gd name="connsiteY6" fmla="*/ 169776 h 265350"/>
              <a:gd name="connsiteX7" fmla="*/ 41806 w 173747"/>
              <a:gd name="connsiteY7" fmla="*/ 161150 h 265350"/>
              <a:gd name="connsiteX8" fmla="*/ 32012 w 173747"/>
              <a:gd name="connsiteY8" fmla="*/ 141597 h 265350"/>
              <a:gd name="connsiteX9" fmla="*/ 173734 w 173747"/>
              <a:gd name="connsiteY9" fmla="*/ 205432 h 265350"/>
              <a:gd name="connsiteX10" fmla="*/ 155298 w 173747"/>
              <a:gd name="connsiteY10" fmla="*/ 196230 h 265350"/>
              <a:gd name="connsiteX11" fmla="*/ 146657 w 173747"/>
              <a:gd name="connsiteY11" fmla="*/ 195080 h 265350"/>
              <a:gd name="connsiteX12" fmla="*/ 146657 w 173747"/>
              <a:gd name="connsiteY12" fmla="*/ 185304 h 265350"/>
              <a:gd name="connsiteX13" fmla="*/ 140896 w 173747"/>
              <a:gd name="connsiteY13" fmla="*/ 175527 h 265350"/>
              <a:gd name="connsiteX14" fmla="*/ 127645 w 173747"/>
              <a:gd name="connsiteY14" fmla="*/ 154249 h 265350"/>
              <a:gd name="connsiteX15" fmla="*/ 116123 w 173747"/>
              <a:gd name="connsiteY15" fmla="*/ 132971 h 265350"/>
              <a:gd name="connsiteX16" fmla="*/ 104601 w 173747"/>
              <a:gd name="connsiteY16" fmla="*/ 124344 h 265350"/>
              <a:gd name="connsiteX17" fmla="*/ 89046 w 173747"/>
              <a:gd name="connsiteY17" fmla="*/ 122044 h 265350"/>
              <a:gd name="connsiteX18" fmla="*/ 95383 w 173747"/>
              <a:gd name="connsiteY18" fmla="*/ 110542 h 265350"/>
              <a:gd name="connsiteX19" fmla="*/ 108634 w 173747"/>
              <a:gd name="connsiteY19" fmla="*/ 80062 h 265350"/>
              <a:gd name="connsiteX20" fmla="*/ 76372 w 173747"/>
              <a:gd name="connsiteY20" fmla="*/ 78337 h 265350"/>
              <a:gd name="connsiteX21" fmla="*/ 70611 w 173747"/>
              <a:gd name="connsiteY21" fmla="*/ 72586 h 265350"/>
              <a:gd name="connsiteX22" fmla="*/ 83861 w 173747"/>
              <a:gd name="connsiteY22" fmla="*/ 58209 h 265350"/>
              <a:gd name="connsiteX23" fmla="*/ 86742 w 173747"/>
              <a:gd name="connsiteY23" fmla="*/ 47857 h 265350"/>
              <a:gd name="connsiteX24" fmla="*/ 79253 w 173747"/>
              <a:gd name="connsiteY24" fmla="*/ 54758 h 265350"/>
              <a:gd name="connsiteX25" fmla="*/ 60241 w 173747"/>
              <a:gd name="connsiteY25" fmla="*/ 54758 h 265350"/>
              <a:gd name="connsiteX26" fmla="*/ 49295 w 173747"/>
              <a:gd name="connsiteY26" fmla="*/ 69711 h 265350"/>
              <a:gd name="connsiteX27" fmla="*/ 41230 w 173747"/>
              <a:gd name="connsiteY27" fmla="*/ 81787 h 265350"/>
              <a:gd name="connsiteX28" fmla="*/ 36621 w 173747"/>
              <a:gd name="connsiteY28" fmla="*/ 86963 h 265350"/>
              <a:gd name="connsiteX29" fmla="*/ 26251 w 173747"/>
              <a:gd name="connsiteY29" fmla="*/ 82938 h 265350"/>
              <a:gd name="connsiteX30" fmla="*/ 38925 w 173747"/>
              <a:gd name="connsiteY30" fmla="*/ 93289 h 265350"/>
              <a:gd name="connsiteX31" fmla="*/ 32588 w 173747"/>
              <a:gd name="connsiteY31" fmla="*/ 105941 h 265350"/>
              <a:gd name="connsiteX32" fmla="*/ 41806 w 173747"/>
              <a:gd name="connsiteY32" fmla="*/ 115143 h 265350"/>
              <a:gd name="connsiteX33" fmla="*/ 27403 w 173747"/>
              <a:gd name="connsiteY33" fmla="*/ 126069 h 265350"/>
              <a:gd name="connsiteX34" fmla="*/ 40078 w 173747"/>
              <a:gd name="connsiteY34" fmla="*/ 121469 h 265350"/>
              <a:gd name="connsiteX35" fmla="*/ 47567 w 173747"/>
              <a:gd name="connsiteY35" fmla="*/ 131820 h 265350"/>
              <a:gd name="connsiteX36" fmla="*/ 57937 w 173747"/>
              <a:gd name="connsiteY36" fmla="*/ 118018 h 265350"/>
              <a:gd name="connsiteX37" fmla="*/ 59089 w 173747"/>
              <a:gd name="connsiteY37" fmla="*/ 130095 h 265350"/>
              <a:gd name="connsiteX38" fmla="*/ 52752 w 173747"/>
              <a:gd name="connsiteY38" fmla="*/ 147923 h 265350"/>
              <a:gd name="connsiteX39" fmla="*/ 78100 w 173747"/>
              <a:gd name="connsiteY39" fmla="*/ 145622 h 265350"/>
              <a:gd name="connsiteX40" fmla="*/ 82709 w 173747"/>
              <a:gd name="connsiteY40" fmla="*/ 150798 h 265350"/>
              <a:gd name="connsiteX41" fmla="*/ 85590 w 173747"/>
              <a:gd name="connsiteY41" fmla="*/ 161725 h 265350"/>
              <a:gd name="connsiteX42" fmla="*/ 90199 w 173747"/>
              <a:gd name="connsiteY42" fmla="*/ 168051 h 265350"/>
              <a:gd name="connsiteX43" fmla="*/ 88470 w 173747"/>
              <a:gd name="connsiteY43" fmla="*/ 183578 h 265350"/>
              <a:gd name="connsiteX44" fmla="*/ 70611 w 173747"/>
              <a:gd name="connsiteY44" fmla="*/ 184154 h 265350"/>
              <a:gd name="connsiteX45" fmla="*/ 65426 w 173747"/>
              <a:gd name="connsiteY45" fmla="*/ 187029 h 265350"/>
              <a:gd name="connsiteX46" fmla="*/ 60241 w 173747"/>
              <a:gd name="connsiteY46" fmla="*/ 197956 h 265350"/>
              <a:gd name="connsiteX47" fmla="*/ 70611 w 173747"/>
              <a:gd name="connsiteY47" fmla="*/ 204857 h 265350"/>
              <a:gd name="connsiteX48" fmla="*/ 53904 w 173747"/>
              <a:gd name="connsiteY48" fmla="*/ 216934 h 265350"/>
              <a:gd name="connsiteX49" fmla="*/ 60817 w 173747"/>
              <a:gd name="connsiteY49" fmla="*/ 224410 h 265350"/>
              <a:gd name="connsiteX50" fmla="*/ 71187 w 173747"/>
              <a:gd name="connsiteY50" fmla="*/ 226710 h 265350"/>
              <a:gd name="connsiteX51" fmla="*/ 89622 w 173747"/>
              <a:gd name="connsiteY51" fmla="*/ 229586 h 265350"/>
              <a:gd name="connsiteX52" fmla="*/ 91351 w 173747"/>
              <a:gd name="connsiteY52" fmla="*/ 234186 h 265350"/>
              <a:gd name="connsiteX53" fmla="*/ 71763 w 173747"/>
              <a:gd name="connsiteY53" fmla="*/ 237062 h 265350"/>
              <a:gd name="connsiteX54" fmla="*/ 49295 w 173747"/>
              <a:gd name="connsiteY54" fmla="*/ 264666 h 265350"/>
              <a:gd name="connsiteX55" fmla="*/ 61969 w 173747"/>
              <a:gd name="connsiteY55" fmla="*/ 257190 h 265350"/>
              <a:gd name="connsiteX56" fmla="*/ 75220 w 173747"/>
              <a:gd name="connsiteY56" fmla="*/ 259490 h 265350"/>
              <a:gd name="connsiteX57" fmla="*/ 82709 w 173747"/>
              <a:gd name="connsiteY57" fmla="*/ 252014 h 265350"/>
              <a:gd name="connsiteX58" fmla="*/ 95383 w 173747"/>
              <a:gd name="connsiteY58" fmla="*/ 250289 h 265350"/>
              <a:gd name="connsiteX59" fmla="*/ 109210 w 173747"/>
              <a:gd name="connsiteY59" fmla="*/ 246263 h 265350"/>
              <a:gd name="connsiteX60" fmla="*/ 123037 w 173747"/>
              <a:gd name="connsiteY60" fmla="*/ 249714 h 265350"/>
              <a:gd name="connsiteX61" fmla="*/ 142624 w 173747"/>
              <a:gd name="connsiteY61" fmla="*/ 246263 h 265350"/>
              <a:gd name="connsiteX62" fmla="*/ 166820 w 173747"/>
              <a:gd name="connsiteY62" fmla="*/ 235912 h 265350"/>
              <a:gd name="connsiteX63" fmla="*/ 159331 w 173747"/>
              <a:gd name="connsiteY63" fmla="*/ 232461 h 265350"/>
              <a:gd name="connsiteX64" fmla="*/ 160483 w 173747"/>
              <a:gd name="connsiteY64" fmla="*/ 222109 h 265350"/>
              <a:gd name="connsiteX65" fmla="*/ 173734 w 173747"/>
              <a:gd name="connsiteY65" fmla="*/ 205432 h 265350"/>
              <a:gd name="connsiteX66" fmla="*/ 18186 w 173747"/>
              <a:gd name="connsiteY66" fmla="*/ 75461 h 265350"/>
              <a:gd name="connsiteX67" fmla="*/ 29708 w 173747"/>
              <a:gd name="connsiteY67" fmla="*/ 59934 h 265350"/>
              <a:gd name="connsiteX68" fmla="*/ 18186 w 173747"/>
              <a:gd name="connsiteY68" fmla="*/ 75461 h 265350"/>
              <a:gd name="connsiteX69" fmla="*/ 118427 w 173747"/>
              <a:gd name="connsiteY69" fmla="*/ 19678 h 265350"/>
              <a:gd name="connsiteX70" fmla="*/ 121308 w 173747"/>
              <a:gd name="connsiteY70" fmla="*/ 125 h 265350"/>
              <a:gd name="connsiteX71" fmla="*/ 118427 w 173747"/>
              <a:gd name="connsiteY71" fmla="*/ 19678 h 26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3747" h="265350">
                <a:moveTo>
                  <a:pt x="32012" y="141597"/>
                </a:moveTo>
                <a:cubicBezTo>
                  <a:pt x="25675" y="135271"/>
                  <a:pt x="17034" y="145047"/>
                  <a:pt x="10120" y="145047"/>
                </a:cubicBezTo>
                <a:cubicBezTo>
                  <a:pt x="8968" y="150223"/>
                  <a:pt x="7240" y="153674"/>
                  <a:pt x="5511" y="154824"/>
                </a:cubicBezTo>
                <a:cubicBezTo>
                  <a:pt x="2631" y="156549"/>
                  <a:pt x="-2554" y="164025"/>
                  <a:pt x="1479" y="165176"/>
                </a:cubicBezTo>
                <a:cubicBezTo>
                  <a:pt x="5511" y="165751"/>
                  <a:pt x="11849" y="172077"/>
                  <a:pt x="12425" y="167476"/>
                </a:cubicBezTo>
                <a:cubicBezTo>
                  <a:pt x="13001" y="162875"/>
                  <a:pt x="15881" y="156549"/>
                  <a:pt x="22795" y="164600"/>
                </a:cubicBezTo>
                <a:cubicBezTo>
                  <a:pt x="24523" y="166326"/>
                  <a:pt x="26251" y="168051"/>
                  <a:pt x="28556" y="169776"/>
                </a:cubicBezTo>
                <a:cubicBezTo>
                  <a:pt x="29708" y="166326"/>
                  <a:pt x="37773" y="165751"/>
                  <a:pt x="41806" y="161150"/>
                </a:cubicBezTo>
                <a:cubicBezTo>
                  <a:pt x="46991" y="155974"/>
                  <a:pt x="39501" y="148498"/>
                  <a:pt x="32012" y="141597"/>
                </a:cubicBezTo>
                <a:close/>
                <a:moveTo>
                  <a:pt x="173734" y="205432"/>
                </a:moveTo>
                <a:cubicBezTo>
                  <a:pt x="174309" y="197956"/>
                  <a:pt x="157026" y="192205"/>
                  <a:pt x="155298" y="196230"/>
                </a:cubicBezTo>
                <a:cubicBezTo>
                  <a:pt x="153570" y="200256"/>
                  <a:pt x="149537" y="199681"/>
                  <a:pt x="146657" y="195080"/>
                </a:cubicBezTo>
                <a:cubicBezTo>
                  <a:pt x="143776" y="190480"/>
                  <a:pt x="149537" y="185879"/>
                  <a:pt x="146657" y="185304"/>
                </a:cubicBezTo>
                <a:cubicBezTo>
                  <a:pt x="143776" y="184729"/>
                  <a:pt x="140320" y="178403"/>
                  <a:pt x="140896" y="175527"/>
                </a:cubicBezTo>
                <a:cubicBezTo>
                  <a:pt x="141472" y="173227"/>
                  <a:pt x="136287" y="156549"/>
                  <a:pt x="127645" y="154249"/>
                </a:cubicBezTo>
                <a:cubicBezTo>
                  <a:pt x="119004" y="151948"/>
                  <a:pt x="117276" y="139872"/>
                  <a:pt x="116123" y="132971"/>
                </a:cubicBezTo>
                <a:cubicBezTo>
                  <a:pt x="114395" y="126069"/>
                  <a:pt x="108634" y="130095"/>
                  <a:pt x="104601" y="124344"/>
                </a:cubicBezTo>
                <a:cubicBezTo>
                  <a:pt x="99992" y="118593"/>
                  <a:pt x="92503" y="121469"/>
                  <a:pt x="89046" y="122044"/>
                </a:cubicBezTo>
                <a:cubicBezTo>
                  <a:pt x="85014" y="122044"/>
                  <a:pt x="89046" y="114568"/>
                  <a:pt x="95383" y="110542"/>
                </a:cubicBezTo>
                <a:cubicBezTo>
                  <a:pt x="101721" y="106516"/>
                  <a:pt x="108634" y="84663"/>
                  <a:pt x="108634" y="80062"/>
                </a:cubicBezTo>
                <a:cubicBezTo>
                  <a:pt x="108634" y="75461"/>
                  <a:pt x="81557" y="76037"/>
                  <a:pt x="76372" y="78337"/>
                </a:cubicBezTo>
                <a:cubicBezTo>
                  <a:pt x="71187" y="80637"/>
                  <a:pt x="66002" y="74311"/>
                  <a:pt x="70611" y="72586"/>
                </a:cubicBezTo>
                <a:cubicBezTo>
                  <a:pt x="75220" y="70861"/>
                  <a:pt x="84438" y="61659"/>
                  <a:pt x="83861" y="58209"/>
                </a:cubicBezTo>
                <a:cubicBezTo>
                  <a:pt x="83285" y="54758"/>
                  <a:pt x="90199" y="51308"/>
                  <a:pt x="86742" y="47857"/>
                </a:cubicBezTo>
                <a:cubicBezTo>
                  <a:pt x="82709" y="44407"/>
                  <a:pt x="82133" y="52458"/>
                  <a:pt x="79253" y="54758"/>
                </a:cubicBezTo>
                <a:cubicBezTo>
                  <a:pt x="75796" y="57634"/>
                  <a:pt x="68307" y="56484"/>
                  <a:pt x="60241" y="54758"/>
                </a:cubicBezTo>
                <a:cubicBezTo>
                  <a:pt x="52176" y="53033"/>
                  <a:pt x="49295" y="64535"/>
                  <a:pt x="49295" y="69711"/>
                </a:cubicBezTo>
                <a:cubicBezTo>
                  <a:pt x="49295" y="74886"/>
                  <a:pt x="40078" y="77187"/>
                  <a:pt x="41230" y="81787"/>
                </a:cubicBezTo>
                <a:cubicBezTo>
                  <a:pt x="42958" y="85813"/>
                  <a:pt x="39501" y="89264"/>
                  <a:pt x="36621" y="86963"/>
                </a:cubicBezTo>
                <a:cubicBezTo>
                  <a:pt x="34317" y="84663"/>
                  <a:pt x="31436" y="78912"/>
                  <a:pt x="26251" y="82938"/>
                </a:cubicBezTo>
                <a:cubicBezTo>
                  <a:pt x="21066" y="86963"/>
                  <a:pt x="32012" y="92714"/>
                  <a:pt x="38925" y="93289"/>
                </a:cubicBezTo>
                <a:cubicBezTo>
                  <a:pt x="45839" y="93864"/>
                  <a:pt x="33740" y="99040"/>
                  <a:pt x="32588" y="105941"/>
                </a:cubicBezTo>
                <a:cubicBezTo>
                  <a:pt x="31436" y="113417"/>
                  <a:pt x="41230" y="109967"/>
                  <a:pt x="41806" y="115143"/>
                </a:cubicBezTo>
                <a:cubicBezTo>
                  <a:pt x="42382" y="120318"/>
                  <a:pt x="27403" y="120894"/>
                  <a:pt x="27403" y="126069"/>
                </a:cubicBezTo>
                <a:cubicBezTo>
                  <a:pt x="27403" y="131245"/>
                  <a:pt x="36045" y="123769"/>
                  <a:pt x="40078" y="121469"/>
                </a:cubicBezTo>
                <a:cubicBezTo>
                  <a:pt x="44110" y="119168"/>
                  <a:pt x="37773" y="133546"/>
                  <a:pt x="47567" y="131820"/>
                </a:cubicBezTo>
                <a:cubicBezTo>
                  <a:pt x="56785" y="130095"/>
                  <a:pt x="54480" y="117443"/>
                  <a:pt x="57937" y="118018"/>
                </a:cubicBezTo>
                <a:cubicBezTo>
                  <a:pt x="61394" y="118593"/>
                  <a:pt x="56208" y="124919"/>
                  <a:pt x="59089" y="130095"/>
                </a:cubicBezTo>
                <a:cubicBezTo>
                  <a:pt x="61969" y="135271"/>
                  <a:pt x="52176" y="143897"/>
                  <a:pt x="52752" y="147923"/>
                </a:cubicBezTo>
                <a:cubicBezTo>
                  <a:pt x="53328" y="151948"/>
                  <a:pt x="71763" y="151948"/>
                  <a:pt x="78100" y="145622"/>
                </a:cubicBezTo>
                <a:cubicBezTo>
                  <a:pt x="83861" y="139296"/>
                  <a:pt x="86742" y="146198"/>
                  <a:pt x="82709" y="150798"/>
                </a:cubicBezTo>
                <a:cubicBezTo>
                  <a:pt x="78677" y="155399"/>
                  <a:pt x="80405" y="160000"/>
                  <a:pt x="85590" y="161725"/>
                </a:cubicBezTo>
                <a:cubicBezTo>
                  <a:pt x="90775" y="163450"/>
                  <a:pt x="92503" y="164025"/>
                  <a:pt x="90199" y="168051"/>
                </a:cubicBezTo>
                <a:cubicBezTo>
                  <a:pt x="87894" y="172077"/>
                  <a:pt x="90199" y="180128"/>
                  <a:pt x="88470" y="183578"/>
                </a:cubicBezTo>
                <a:cubicBezTo>
                  <a:pt x="87318" y="187604"/>
                  <a:pt x="71187" y="187029"/>
                  <a:pt x="70611" y="184154"/>
                </a:cubicBezTo>
                <a:cubicBezTo>
                  <a:pt x="70035" y="181278"/>
                  <a:pt x="63122" y="183578"/>
                  <a:pt x="65426" y="187029"/>
                </a:cubicBezTo>
                <a:cubicBezTo>
                  <a:pt x="67155" y="190480"/>
                  <a:pt x="59665" y="194505"/>
                  <a:pt x="60241" y="197956"/>
                </a:cubicBezTo>
                <a:cubicBezTo>
                  <a:pt x="60817" y="201406"/>
                  <a:pt x="70611" y="200256"/>
                  <a:pt x="70611" y="204857"/>
                </a:cubicBezTo>
                <a:cubicBezTo>
                  <a:pt x="70611" y="208882"/>
                  <a:pt x="63698" y="214058"/>
                  <a:pt x="53904" y="216934"/>
                </a:cubicBezTo>
                <a:cubicBezTo>
                  <a:pt x="44110" y="219809"/>
                  <a:pt x="56208" y="227285"/>
                  <a:pt x="60817" y="224410"/>
                </a:cubicBezTo>
                <a:cubicBezTo>
                  <a:pt x="65426" y="220959"/>
                  <a:pt x="64274" y="226710"/>
                  <a:pt x="71187" y="226710"/>
                </a:cubicBezTo>
                <a:cubicBezTo>
                  <a:pt x="78100" y="226710"/>
                  <a:pt x="82133" y="231886"/>
                  <a:pt x="89622" y="229586"/>
                </a:cubicBezTo>
                <a:cubicBezTo>
                  <a:pt x="97112" y="226710"/>
                  <a:pt x="97112" y="229586"/>
                  <a:pt x="91351" y="234186"/>
                </a:cubicBezTo>
                <a:cubicBezTo>
                  <a:pt x="85590" y="238787"/>
                  <a:pt x="76948" y="234186"/>
                  <a:pt x="71763" y="237062"/>
                </a:cubicBezTo>
                <a:cubicBezTo>
                  <a:pt x="66578" y="239937"/>
                  <a:pt x="45263" y="259490"/>
                  <a:pt x="49295" y="264666"/>
                </a:cubicBezTo>
                <a:cubicBezTo>
                  <a:pt x="51600" y="267542"/>
                  <a:pt x="54480" y="260641"/>
                  <a:pt x="61969" y="257190"/>
                </a:cubicBezTo>
                <a:cubicBezTo>
                  <a:pt x="69459" y="254314"/>
                  <a:pt x="70611" y="259490"/>
                  <a:pt x="75220" y="259490"/>
                </a:cubicBezTo>
                <a:cubicBezTo>
                  <a:pt x="79253" y="260065"/>
                  <a:pt x="79829" y="250864"/>
                  <a:pt x="82709" y="252014"/>
                </a:cubicBezTo>
                <a:cubicBezTo>
                  <a:pt x="86166" y="252589"/>
                  <a:pt x="89046" y="249139"/>
                  <a:pt x="95383" y="250289"/>
                </a:cubicBezTo>
                <a:cubicBezTo>
                  <a:pt x="101721" y="251439"/>
                  <a:pt x="105753" y="249139"/>
                  <a:pt x="109210" y="246263"/>
                </a:cubicBezTo>
                <a:cubicBezTo>
                  <a:pt x="112090" y="243963"/>
                  <a:pt x="120732" y="251439"/>
                  <a:pt x="123037" y="249714"/>
                </a:cubicBezTo>
                <a:cubicBezTo>
                  <a:pt x="125341" y="247989"/>
                  <a:pt x="136863" y="245688"/>
                  <a:pt x="142624" y="246263"/>
                </a:cubicBezTo>
                <a:cubicBezTo>
                  <a:pt x="148385" y="246263"/>
                  <a:pt x="163364" y="239937"/>
                  <a:pt x="166820" y="235912"/>
                </a:cubicBezTo>
                <a:cubicBezTo>
                  <a:pt x="170853" y="232461"/>
                  <a:pt x="164516" y="231311"/>
                  <a:pt x="159331" y="232461"/>
                </a:cubicBezTo>
                <a:cubicBezTo>
                  <a:pt x="154146" y="233036"/>
                  <a:pt x="155298" y="227285"/>
                  <a:pt x="160483" y="222109"/>
                </a:cubicBezTo>
                <a:cubicBezTo>
                  <a:pt x="164516" y="216934"/>
                  <a:pt x="173157" y="213483"/>
                  <a:pt x="173734" y="205432"/>
                </a:cubicBezTo>
                <a:close/>
                <a:moveTo>
                  <a:pt x="18186" y="75461"/>
                </a:moveTo>
                <a:cubicBezTo>
                  <a:pt x="25099" y="75461"/>
                  <a:pt x="33164" y="63385"/>
                  <a:pt x="29708" y="59934"/>
                </a:cubicBezTo>
                <a:cubicBezTo>
                  <a:pt x="26251" y="57059"/>
                  <a:pt x="13001" y="76037"/>
                  <a:pt x="18186" y="75461"/>
                </a:cubicBezTo>
                <a:close/>
                <a:moveTo>
                  <a:pt x="118427" y="19678"/>
                </a:moveTo>
                <a:cubicBezTo>
                  <a:pt x="123037" y="15077"/>
                  <a:pt x="128221" y="-1601"/>
                  <a:pt x="121308" y="125"/>
                </a:cubicBezTo>
                <a:cubicBezTo>
                  <a:pt x="114395" y="1850"/>
                  <a:pt x="116123" y="21403"/>
                  <a:pt x="118427" y="19678"/>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5" name="Freeform 358">
            <a:extLst>
              <a:ext uri="{FF2B5EF4-FFF2-40B4-BE49-F238E27FC236}">
                <a16:creationId xmlns:a16="http://schemas.microsoft.com/office/drawing/2014/main" id="{72DCBEE7-92E7-F1D0-6DB4-077F453D766D}"/>
              </a:ext>
            </a:extLst>
          </p:cNvPr>
          <p:cNvSpPr/>
          <p:nvPr/>
        </p:nvSpPr>
        <p:spPr>
          <a:xfrm>
            <a:off x="6914837" y="781449"/>
            <a:ext cx="1437718" cy="2195709"/>
          </a:xfrm>
          <a:custGeom>
            <a:avLst/>
            <a:gdLst>
              <a:gd name="connsiteX0" fmla="*/ 32012 w 173747"/>
              <a:gd name="connsiteY0" fmla="*/ 141597 h 265350"/>
              <a:gd name="connsiteX1" fmla="*/ 10120 w 173747"/>
              <a:gd name="connsiteY1" fmla="*/ 145047 h 265350"/>
              <a:gd name="connsiteX2" fmla="*/ 5511 w 173747"/>
              <a:gd name="connsiteY2" fmla="*/ 154824 h 265350"/>
              <a:gd name="connsiteX3" fmla="*/ 1479 w 173747"/>
              <a:gd name="connsiteY3" fmla="*/ 165176 h 265350"/>
              <a:gd name="connsiteX4" fmla="*/ 12425 w 173747"/>
              <a:gd name="connsiteY4" fmla="*/ 167476 h 265350"/>
              <a:gd name="connsiteX5" fmla="*/ 22795 w 173747"/>
              <a:gd name="connsiteY5" fmla="*/ 164600 h 265350"/>
              <a:gd name="connsiteX6" fmla="*/ 28556 w 173747"/>
              <a:gd name="connsiteY6" fmla="*/ 169776 h 265350"/>
              <a:gd name="connsiteX7" fmla="*/ 41806 w 173747"/>
              <a:gd name="connsiteY7" fmla="*/ 161150 h 265350"/>
              <a:gd name="connsiteX8" fmla="*/ 32012 w 173747"/>
              <a:gd name="connsiteY8" fmla="*/ 141597 h 265350"/>
              <a:gd name="connsiteX9" fmla="*/ 173734 w 173747"/>
              <a:gd name="connsiteY9" fmla="*/ 205432 h 265350"/>
              <a:gd name="connsiteX10" fmla="*/ 155298 w 173747"/>
              <a:gd name="connsiteY10" fmla="*/ 196230 h 265350"/>
              <a:gd name="connsiteX11" fmla="*/ 146657 w 173747"/>
              <a:gd name="connsiteY11" fmla="*/ 195080 h 265350"/>
              <a:gd name="connsiteX12" fmla="*/ 146657 w 173747"/>
              <a:gd name="connsiteY12" fmla="*/ 185304 h 265350"/>
              <a:gd name="connsiteX13" fmla="*/ 140896 w 173747"/>
              <a:gd name="connsiteY13" fmla="*/ 175527 h 265350"/>
              <a:gd name="connsiteX14" fmla="*/ 127645 w 173747"/>
              <a:gd name="connsiteY14" fmla="*/ 154249 h 265350"/>
              <a:gd name="connsiteX15" fmla="*/ 116123 w 173747"/>
              <a:gd name="connsiteY15" fmla="*/ 132971 h 265350"/>
              <a:gd name="connsiteX16" fmla="*/ 104601 w 173747"/>
              <a:gd name="connsiteY16" fmla="*/ 124344 h 265350"/>
              <a:gd name="connsiteX17" fmla="*/ 89046 w 173747"/>
              <a:gd name="connsiteY17" fmla="*/ 122044 h 265350"/>
              <a:gd name="connsiteX18" fmla="*/ 95383 w 173747"/>
              <a:gd name="connsiteY18" fmla="*/ 110542 h 265350"/>
              <a:gd name="connsiteX19" fmla="*/ 108634 w 173747"/>
              <a:gd name="connsiteY19" fmla="*/ 80062 h 265350"/>
              <a:gd name="connsiteX20" fmla="*/ 76372 w 173747"/>
              <a:gd name="connsiteY20" fmla="*/ 78337 h 265350"/>
              <a:gd name="connsiteX21" fmla="*/ 70611 w 173747"/>
              <a:gd name="connsiteY21" fmla="*/ 72586 h 265350"/>
              <a:gd name="connsiteX22" fmla="*/ 83861 w 173747"/>
              <a:gd name="connsiteY22" fmla="*/ 58209 h 265350"/>
              <a:gd name="connsiteX23" fmla="*/ 86742 w 173747"/>
              <a:gd name="connsiteY23" fmla="*/ 47857 h 265350"/>
              <a:gd name="connsiteX24" fmla="*/ 79253 w 173747"/>
              <a:gd name="connsiteY24" fmla="*/ 54758 h 265350"/>
              <a:gd name="connsiteX25" fmla="*/ 60241 w 173747"/>
              <a:gd name="connsiteY25" fmla="*/ 54758 h 265350"/>
              <a:gd name="connsiteX26" fmla="*/ 49295 w 173747"/>
              <a:gd name="connsiteY26" fmla="*/ 69711 h 265350"/>
              <a:gd name="connsiteX27" fmla="*/ 41230 w 173747"/>
              <a:gd name="connsiteY27" fmla="*/ 81787 h 265350"/>
              <a:gd name="connsiteX28" fmla="*/ 36621 w 173747"/>
              <a:gd name="connsiteY28" fmla="*/ 86963 h 265350"/>
              <a:gd name="connsiteX29" fmla="*/ 26251 w 173747"/>
              <a:gd name="connsiteY29" fmla="*/ 82938 h 265350"/>
              <a:gd name="connsiteX30" fmla="*/ 38925 w 173747"/>
              <a:gd name="connsiteY30" fmla="*/ 93289 h 265350"/>
              <a:gd name="connsiteX31" fmla="*/ 32588 w 173747"/>
              <a:gd name="connsiteY31" fmla="*/ 105941 h 265350"/>
              <a:gd name="connsiteX32" fmla="*/ 41806 w 173747"/>
              <a:gd name="connsiteY32" fmla="*/ 115143 h 265350"/>
              <a:gd name="connsiteX33" fmla="*/ 27403 w 173747"/>
              <a:gd name="connsiteY33" fmla="*/ 126069 h 265350"/>
              <a:gd name="connsiteX34" fmla="*/ 40078 w 173747"/>
              <a:gd name="connsiteY34" fmla="*/ 121469 h 265350"/>
              <a:gd name="connsiteX35" fmla="*/ 47567 w 173747"/>
              <a:gd name="connsiteY35" fmla="*/ 131820 h 265350"/>
              <a:gd name="connsiteX36" fmla="*/ 57937 w 173747"/>
              <a:gd name="connsiteY36" fmla="*/ 118018 h 265350"/>
              <a:gd name="connsiteX37" fmla="*/ 59089 w 173747"/>
              <a:gd name="connsiteY37" fmla="*/ 130095 h 265350"/>
              <a:gd name="connsiteX38" fmla="*/ 52752 w 173747"/>
              <a:gd name="connsiteY38" fmla="*/ 147923 h 265350"/>
              <a:gd name="connsiteX39" fmla="*/ 78100 w 173747"/>
              <a:gd name="connsiteY39" fmla="*/ 145622 h 265350"/>
              <a:gd name="connsiteX40" fmla="*/ 82709 w 173747"/>
              <a:gd name="connsiteY40" fmla="*/ 150798 h 265350"/>
              <a:gd name="connsiteX41" fmla="*/ 85590 w 173747"/>
              <a:gd name="connsiteY41" fmla="*/ 161725 h 265350"/>
              <a:gd name="connsiteX42" fmla="*/ 90199 w 173747"/>
              <a:gd name="connsiteY42" fmla="*/ 168051 h 265350"/>
              <a:gd name="connsiteX43" fmla="*/ 88470 w 173747"/>
              <a:gd name="connsiteY43" fmla="*/ 183578 h 265350"/>
              <a:gd name="connsiteX44" fmla="*/ 70611 w 173747"/>
              <a:gd name="connsiteY44" fmla="*/ 184154 h 265350"/>
              <a:gd name="connsiteX45" fmla="*/ 65426 w 173747"/>
              <a:gd name="connsiteY45" fmla="*/ 187029 h 265350"/>
              <a:gd name="connsiteX46" fmla="*/ 60241 w 173747"/>
              <a:gd name="connsiteY46" fmla="*/ 197956 h 265350"/>
              <a:gd name="connsiteX47" fmla="*/ 70611 w 173747"/>
              <a:gd name="connsiteY47" fmla="*/ 204857 h 265350"/>
              <a:gd name="connsiteX48" fmla="*/ 53904 w 173747"/>
              <a:gd name="connsiteY48" fmla="*/ 216934 h 265350"/>
              <a:gd name="connsiteX49" fmla="*/ 60817 w 173747"/>
              <a:gd name="connsiteY49" fmla="*/ 224410 h 265350"/>
              <a:gd name="connsiteX50" fmla="*/ 71187 w 173747"/>
              <a:gd name="connsiteY50" fmla="*/ 226710 h 265350"/>
              <a:gd name="connsiteX51" fmla="*/ 89622 w 173747"/>
              <a:gd name="connsiteY51" fmla="*/ 229586 h 265350"/>
              <a:gd name="connsiteX52" fmla="*/ 91351 w 173747"/>
              <a:gd name="connsiteY52" fmla="*/ 234186 h 265350"/>
              <a:gd name="connsiteX53" fmla="*/ 71763 w 173747"/>
              <a:gd name="connsiteY53" fmla="*/ 237062 h 265350"/>
              <a:gd name="connsiteX54" fmla="*/ 49295 w 173747"/>
              <a:gd name="connsiteY54" fmla="*/ 264666 h 265350"/>
              <a:gd name="connsiteX55" fmla="*/ 61969 w 173747"/>
              <a:gd name="connsiteY55" fmla="*/ 257190 h 265350"/>
              <a:gd name="connsiteX56" fmla="*/ 75220 w 173747"/>
              <a:gd name="connsiteY56" fmla="*/ 259490 h 265350"/>
              <a:gd name="connsiteX57" fmla="*/ 82709 w 173747"/>
              <a:gd name="connsiteY57" fmla="*/ 252014 h 265350"/>
              <a:gd name="connsiteX58" fmla="*/ 95383 w 173747"/>
              <a:gd name="connsiteY58" fmla="*/ 250289 h 265350"/>
              <a:gd name="connsiteX59" fmla="*/ 109210 w 173747"/>
              <a:gd name="connsiteY59" fmla="*/ 246263 h 265350"/>
              <a:gd name="connsiteX60" fmla="*/ 123037 w 173747"/>
              <a:gd name="connsiteY60" fmla="*/ 249714 h 265350"/>
              <a:gd name="connsiteX61" fmla="*/ 142624 w 173747"/>
              <a:gd name="connsiteY61" fmla="*/ 246263 h 265350"/>
              <a:gd name="connsiteX62" fmla="*/ 166820 w 173747"/>
              <a:gd name="connsiteY62" fmla="*/ 235912 h 265350"/>
              <a:gd name="connsiteX63" fmla="*/ 159331 w 173747"/>
              <a:gd name="connsiteY63" fmla="*/ 232461 h 265350"/>
              <a:gd name="connsiteX64" fmla="*/ 160483 w 173747"/>
              <a:gd name="connsiteY64" fmla="*/ 222109 h 265350"/>
              <a:gd name="connsiteX65" fmla="*/ 173734 w 173747"/>
              <a:gd name="connsiteY65" fmla="*/ 205432 h 265350"/>
              <a:gd name="connsiteX66" fmla="*/ 18186 w 173747"/>
              <a:gd name="connsiteY66" fmla="*/ 75461 h 265350"/>
              <a:gd name="connsiteX67" fmla="*/ 29708 w 173747"/>
              <a:gd name="connsiteY67" fmla="*/ 59934 h 265350"/>
              <a:gd name="connsiteX68" fmla="*/ 18186 w 173747"/>
              <a:gd name="connsiteY68" fmla="*/ 75461 h 265350"/>
              <a:gd name="connsiteX69" fmla="*/ 118427 w 173747"/>
              <a:gd name="connsiteY69" fmla="*/ 19678 h 265350"/>
              <a:gd name="connsiteX70" fmla="*/ 121308 w 173747"/>
              <a:gd name="connsiteY70" fmla="*/ 125 h 265350"/>
              <a:gd name="connsiteX71" fmla="*/ 118427 w 173747"/>
              <a:gd name="connsiteY71" fmla="*/ 19678 h 26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3747" h="265350">
                <a:moveTo>
                  <a:pt x="32012" y="141597"/>
                </a:moveTo>
                <a:cubicBezTo>
                  <a:pt x="25675" y="135271"/>
                  <a:pt x="17034" y="145047"/>
                  <a:pt x="10120" y="145047"/>
                </a:cubicBezTo>
                <a:cubicBezTo>
                  <a:pt x="8968" y="150223"/>
                  <a:pt x="7240" y="153674"/>
                  <a:pt x="5511" y="154824"/>
                </a:cubicBezTo>
                <a:cubicBezTo>
                  <a:pt x="2631" y="156549"/>
                  <a:pt x="-2554" y="164025"/>
                  <a:pt x="1479" y="165176"/>
                </a:cubicBezTo>
                <a:cubicBezTo>
                  <a:pt x="5511" y="165751"/>
                  <a:pt x="11849" y="172077"/>
                  <a:pt x="12425" y="167476"/>
                </a:cubicBezTo>
                <a:cubicBezTo>
                  <a:pt x="13001" y="162875"/>
                  <a:pt x="15881" y="156549"/>
                  <a:pt x="22795" y="164600"/>
                </a:cubicBezTo>
                <a:cubicBezTo>
                  <a:pt x="24523" y="166326"/>
                  <a:pt x="26251" y="168051"/>
                  <a:pt x="28556" y="169776"/>
                </a:cubicBezTo>
                <a:cubicBezTo>
                  <a:pt x="29708" y="166326"/>
                  <a:pt x="37773" y="165751"/>
                  <a:pt x="41806" y="161150"/>
                </a:cubicBezTo>
                <a:cubicBezTo>
                  <a:pt x="46991" y="155974"/>
                  <a:pt x="39501" y="148498"/>
                  <a:pt x="32012" y="141597"/>
                </a:cubicBezTo>
                <a:close/>
                <a:moveTo>
                  <a:pt x="173734" y="205432"/>
                </a:moveTo>
                <a:cubicBezTo>
                  <a:pt x="174309" y="197956"/>
                  <a:pt x="157026" y="192205"/>
                  <a:pt x="155298" y="196230"/>
                </a:cubicBezTo>
                <a:cubicBezTo>
                  <a:pt x="153570" y="200256"/>
                  <a:pt x="149537" y="199681"/>
                  <a:pt x="146657" y="195080"/>
                </a:cubicBezTo>
                <a:cubicBezTo>
                  <a:pt x="143776" y="190480"/>
                  <a:pt x="149537" y="185879"/>
                  <a:pt x="146657" y="185304"/>
                </a:cubicBezTo>
                <a:cubicBezTo>
                  <a:pt x="143776" y="184729"/>
                  <a:pt x="140320" y="178403"/>
                  <a:pt x="140896" y="175527"/>
                </a:cubicBezTo>
                <a:cubicBezTo>
                  <a:pt x="141472" y="173227"/>
                  <a:pt x="136287" y="156549"/>
                  <a:pt x="127645" y="154249"/>
                </a:cubicBezTo>
                <a:cubicBezTo>
                  <a:pt x="119004" y="151948"/>
                  <a:pt x="117276" y="139872"/>
                  <a:pt x="116123" y="132971"/>
                </a:cubicBezTo>
                <a:cubicBezTo>
                  <a:pt x="114395" y="126069"/>
                  <a:pt x="108634" y="130095"/>
                  <a:pt x="104601" y="124344"/>
                </a:cubicBezTo>
                <a:cubicBezTo>
                  <a:pt x="99992" y="118593"/>
                  <a:pt x="92503" y="121469"/>
                  <a:pt x="89046" y="122044"/>
                </a:cubicBezTo>
                <a:cubicBezTo>
                  <a:pt x="85014" y="122044"/>
                  <a:pt x="89046" y="114568"/>
                  <a:pt x="95383" y="110542"/>
                </a:cubicBezTo>
                <a:cubicBezTo>
                  <a:pt x="101721" y="106516"/>
                  <a:pt x="108634" y="84663"/>
                  <a:pt x="108634" y="80062"/>
                </a:cubicBezTo>
                <a:cubicBezTo>
                  <a:pt x="108634" y="75461"/>
                  <a:pt x="81557" y="76037"/>
                  <a:pt x="76372" y="78337"/>
                </a:cubicBezTo>
                <a:cubicBezTo>
                  <a:pt x="71187" y="80637"/>
                  <a:pt x="66002" y="74311"/>
                  <a:pt x="70611" y="72586"/>
                </a:cubicBezTo>
                <a:cubicBezTo>
                  <a:pt x="75220" y="70861"/>
                  <a:pt x="84438" y="61659"/>
                  <a:pt x="83861" y="58209"/>
                </a:cubicBezTo>
                <a:cubicBezTo>
                  <a:pt x="83285" y="54758"/>
                  <a:pt x="90199" y="51308"/>
                  <a:pt x="86742" y="47857"/>
                </a:cubicBezTo>
                <a:cubicBezTo>
                  <a:pt x="82709" y="44407"/>
                  <a:pt x="82133" y="52458"/>
                  <a:pt x="79253" y="54758"/>
                </a:cubicBezTo>
                <a:cubicBezTo>
                  <a:pt x="75796" y="57634"/>
                  <a:pt x="68307" y="56484"/>
                  <a:pt x="60241" y="54758"/>
                </a:cubicBezTo>
                <a:cubicBezTo>
                  <a:pt x="52176" y="53033"/>
                  <a:pt x="49295" y="64535"/>
                  <a:pt x="49295" y="69711"/>
                </a:cubicBezTo>
                <a:cubicBezTo>
                  <a:pt x="49295" y="74886"/>
                  <a:pt x="40078" y="77187"/>
                  <a:pt x="41230" y="81787"/>
                </a:cubicBezTo>
                <a:cubicBezTo>
                  <a:pt x="42958" y="85813"/>
                  <a:pt x="39501" y="89264"/>
                  <a:pt x="36621" y="86963"/>
                </a:cubicBezTo>
                <a:cubicBezTo>
                  <a:pt x="34317" y="84663"/>
                  <a:pt x="31436" y="78912"/>
                  <a:pt x="26251" y="82938"/>
                </a:cubicBezTo>
                <a:cubicBezTo>
                  <a:pt x="21066" y="86963"/>
                  <a:pt x="32012" y="92714"/>
                  <a:pt x="38925" y="93289"/>
                </a:cubicBezTo>
                <a:cubicBezTo>
                  <a:pt x="45839" y="93864"/>
                  <a:pt x="33740" y="99040"/>
                  <a:pt x="32588" y="105941"/>
                </a:cubicBezTo>
                <a:cubicBezTo>
                  <a:pt x="31436" y="113417"/>
                  <a:pt x="41230" y="109967"/>
                  <a:pt x="41806" y="115143"/>
                </a:cubicBezTo>
                <a:cubicBezTo>
                  <a:pt x="42382" y="120318"/>
                  <a:pt x="27403" y="120894"/>
                  <a:pt x="27403" y="126069"/>
                </a:cubicBezTo>
                <a:cubicBezTo>
                  <a:pt x="27403" y="131245"/>
                  <a:pt x="36045" y="123769"/>
                  <a:pt x="40078" y="121469"/>
                </a:cubicBezTo>
                <a:cubicBezTo>
                  <a:pt x="44110" y="119168"/>
                  <a:pt x="37773" y="133546"/>
                  <a:pt x="47567" y="131820"/>
                </a:cubicBezTo>
                <a:cubicBezTo>
                  <a:pt x="56785" y="130095"/>
                  <a:pt x="54480" y="117443"/>
                  <a:pt x="57937" y="118018"/>
                </a:cubicBezTo>
                <a:cubicBezTo>
                  <a:pt x="61394" y="118593"/>
                  <a:pt x="56208" y="124919"/>
                  <a:pt x="59089" y="130095"/>
                </a:cubicBezTo>
                <a:cubicBezTo>
                  <a:pt x="61969" y="135271"/>
                  <a:pt x="52176" y="143897"/>
                  <a:pt x="52752" y="147923"/>
                </a:cubicBezTo>
                <a:cubicBezTo>
                  <a:pt x="53328" y="151948"/>
                  <a:pt x="71763" y="151948"/>
                  <a:pt x="78100" y="145622"/>
                </a:cubicBezTo>
                <a:cubicBezTo>
                  <a:pt x="83861" y="139296"/>
                  <a:pt x="86742" y="146198"/>
                  <a:pt x="82709" y="150798"/>
                </a:cubicBezTo>
                <a:cubicBezTo>
                  <a:pt x="78677" y="155399"/>
                  <a:pt x="80405" y="160000"/>
                  <a:pt x="85590" y="161725"/>
                </a:cubicBezTo>
                <a:cubicBezTo>
                  <a:pt x="90775" y="163450"/>
                  <a:pt x="92503" y="164025"/>
                  <a:pt x="90199" y="168051"/>
                </a:cubicBezTo>
                <a:cubicBezTo>
                  <a:pt x="87894" y="172077"/>
                  <a:pt x="90199" y="180128"/>
                  <a:pt x="88470" y="183578"/>
                </a:cubicBezTo>
                <a:cubicBezTo>
                  <a:pt x="87318" y="187604"/>
                  <a:pt x="71187" y="187029"/>
                  <a:pt x="70611" y="184154"/>
                </a:cubicBezTo>
                <a:cubicBezTo>
                  <a:pt x="70035" y="181278"/>
                  <a:pt x="63122" y="183578"/>
                  <a:pt x="65426" y="187029"/>
                </a:cubicBezTo>
                <a:cubicBezTo>
                  <a:pt x="67155" y="190480"/>
                  <a:pt x="59665" y="194505"/>
                  <a:pt x="60241" y="197956"/>
                </a:cubicBezTo>
                <a:cubicBezTo>
                  <a:pt x="60817" y="201406"/>
                  <a:pt x="70611" y="200256"/>
                  <a:pt x="70611" y="204857"/>
                </a:cubicBezTo>
                <a:cubicBezTo>
                  <a:pt x="70611" y="208882"/>
                  <a:pt x="63698" y="214058"/>
                  <a:pt x="53904" y="216934"/>
                </a:cubicBezTo>
                <a:cubicBezTo>
                  <a:pt x="44110" y="219809"/>
                  <a:pt x="56208" y="227285"/>
                  <a:pt x="60817" y="224410"/>
                </a:cubicBezTo>
                <a:cubicBezTo>
                  <a:pt x="65426" y="220959"/>
                  <a:pt x="64274" y="226710"/>
                  <a:pt x="71187" y="226710"/>
                </a:cubicBezTo>
                <a:cubicBezTo>
                  <a:pt x="78100" y="226710"/>
                  <a:pt x="82133" y="231886"/>
                  <a:pt x="89622" y="229586"/>
                </a:cubicBezTo>
                <a:cubicBezTo>
                  <a:pt x="97112" y="226710"/>
                  <a:pt x="97112" y="229586"/>
                  <a:pt x="91351" y="234186"/>
                </a:cubicBezTo>
                <a:cubicBezTo>
                  <a:pt x="85590" y="238787"/>
                  <a:pt x="76948" y="234186"/>
                  <a:pt x="71763" y="237062"/>
                </a:cubicBezTo>
                <a:cubicBezTo>
                  <a:pt x="66578" y="239937"/>
                  <a:pt x="45263" y="259490"/>
                  <a:pt x="49295" y="264666"/>
                </a:cubicBezTo>
                <a:cubicBezTo>
                  <a:pt x="51600" y="267542"/>
                  <a:pt x="54480" y="260641"/>
                  <a:pt x="61969" y="257190"/>
                </a:cubicBezTo>
                <a:cubicBezTo>
                  <a:pt x="69459" y="254314"/>
                  <a:pt x="70611" y="259490"/>
                  <a:pt x="75220" y="259490"/>
                </a:cubicBezTo>
                <a:cubicBezTo>
                  <a:pt x="79253" y="260065"/>
                  <a:pt x="79829" y="250864"/>
                  <a:pt x="82709" y="252014"/>
                </a:cubicBezTo>
                <a:cubicBezTo>
                  <a:pt x="86166" y="252589"/>
                  <a:pt x="89046" y="249139"/>
                  <a:pt x="95383" y="250289"/>
                </a:cubicBezTo>
                <a:cubicBezTo>
                  <a:pt x="101721" y="251439"/>
                  <a:pt x="105753" y="249139"/>
                  <a:pt x="109210" y="246263"/>
                </a:cubicBezTo>
                <a:cubicBezTo>
                  <a:pt x="112090" y="243963"/>
                  <a:pt x="120732" y="251439"/>
                  <a:pt x="123037" y="249714"/>
                </a:cubicBezTo>
                <a:cubicBezTo>
                  <a:pt x="125341" y="247989"/>
                  <a:pt x="136863" y="245688"/>
                  <a:pt x="142624" y="246263"/>
                </a:cubicBezTo>
                <a:cubicBezTo>
                  <a:pt x="148385" y="246263"/>
                  <a:pt x="163364" y="239937"/>
                  <a:pt x="166820" y="235912"/>
                </a:cubicBezTo>
                <a:cubicBezTo>
                  <a:pt x="170853" y="232461"/>
                  <a:pt x="164516" y="231311"/>
                  <a:pt x="159331" y="232461"/>
                </a:cubicBezTo>
                <a:cubicBezTo>
                  <a:pt x="154146" y="233036"/>
                  <a:pt x="155298" y="227285"/>
                  <a:pt x="160483" y="222109"/>
                </a:cubicBezTo>
                <a:cubicBezTo>
                  <a:pt x="164516" y="216934"/>
                  <a:pt x="173157" y="213483"/>
                  <a:pt x="173734" y="205432"/>
                </a:cubicBezTo>
                <a:close/>
                <a:moveTo>
                  <a:pt x="18186" y="75461"/>
                </a:moveTo>
                <a:cubicBezTo>
                  <a:pt x="25099" y="75461"/>
                  <a:pt x="33164" y="63385"/>
                  <a:pt x="29708" y="59934"/>
                </a:cubicBezTo>
                <a:cubicBezTo>
                  <a:pt x="26251" y="57059"/>
                  <a:pt x="13001" y="76037"/>
                  <a:pt x="18186" y="75461"/>
                </a:cubicBezTo>
                <a:close/>
                <a:moveTo>
                  <a:pt x="118427" y="19678"/>
                </a:moveTo>
                <a:cubicBezTo>
                  <a:pt x="123037" y="15077"/>
                  <a:pt x="128221" y="-1601"/>
                  <a:pt x="121308" y="125"/>
                </a:cubicBezTo>
                <a:cubicBezTo>
                  <a:pt x="114395" y="1850"/>
                  <a:pt x="116123" y="21403"/>
                  <a:pt x="118427" y="19678"/>
                </a:cubicBezTo>
                <a:close/>
              </a:path>
            </a:pathLst>
          </a:custGeom>
          <a:solidFill>
            <a:sysClr val="window" lastClr="FFFFFF"/>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6" name="Freeform 360">
            <a:extLst>
              <a:ext uri="{FF2B5EF4-FFF2-40B4-BE49-F238E27FC236}">
                <a16:creationId xmlns:a16="http://schemas.microsoft.com/office/drawing/2014/main" id="{E26C44C2-023A-8FE6-FBE7-3EFEC6B7BCA9}"/>
              </a:ext>
            </a:extLst>
          </p:cNvPr>
          <p:cNvSpPr/>
          <p:nvPr/>
        </p:nvSpPr>
        <p:spPr>
          <a:xfrm>
            <a:off x="9259448" y="1425271"/>
            <a:ext cx="674805" cy="637915"/>
          </a:xfrm>
          <a:custGeom>
            <a:avLst/>
            <a:gdLst>
              <a:gd name="connsiteX0" fmla="*/ 41904 w 81550"/>
              <a:gd name="connsiteY0" fmla="*/ 28136 h 77092"/>
              <a:gd name="connsiteX1" fmla="*/ 41328 w 81550"/>
              <a:gd name="connsiteY1" fmla="*/ 16059 h 77092"/>
              <a:gd name="connsiteX2" fmla="*/ 43056 w 81550"/>
              <a:gd name="connsiteY2" fmla="*/ 1107 h 77092"/>
              <a:gd name="connsiteX3" fmla="*/ 30382 w 81550"/>
              <a:gd name="connsiteY3" fmla="*/ 8008 h 77092"/>
              <a:gd name="connsiteX4" fmla="*/ 20012 w 81550"/>
              <a:gd name="connsiteY4" fmla="*/ 13184 h 77092"/>
              <a:gd name="connsiteX5" fmla="*/ 20588 w 81550"/>
              <a:gd name="connsiteY5" fmla="*/ 20660 h 77092"/>
              <a:gd name="connsiteX6" fmla="*/ 10218 w 81550"/>
              <a:gd name="connsiteY6" fmla="*/ 15484 h 77092"/>
              <a:gd name="connsiteX7" fmla="*/ 1576 w 81550"/>
              <a:gd name="connsiteY7" fmla="*/ 28136 h 77092"/>
              <a:gd name="connsiteX8" fmla="*/ 1576 w 81550"/>
              <a:gd name="connsiteY8" fmla="*/ 48264 h 77092"/>
              <a:gd name="connsiteX9" fmla="*/ 8490 w 81550"/>
              <a:gd name="connsiteY9" fmla="*/ 63792 h 77092"/>
              <a:gd name="connsiteX10" fmla="*/ 11370 w 81550"/>
              <a:gd name="connsiteY10" fmla="*/ 71268 h 77092"/>
              <a:gd name="connsiteX11" fmla="*/ 27501 w 81550"/>
              <a:gd name="connsiteY11" fmla="*/ 72993 h 77092"/>
              <a:gd name="connsiteX12" fmla="*/ 33838 w 81550"/>
              <a:gd name="connsiteY12" fmla="*/ 72993 h 77092"/>
              <a:gd name="connsiteX13" fmla="*/ 26925 w 81550"/>
              <a:gd name="connsiteY13" fmla="*/ 63792 h 77092"/>
              <a:gd name="connsiteX14" fmla="*/ 36143 w 81550"/>
              <a:gd name="connsiteY14" fmla="*/ 65517 h 77092"/>
              <a:gd name="connsiteX15" fmla="*/ 48817 w 81550"/>
              <a:gd name="connsiteY15" fmla="*/ 65517 h 77092"/>
              <a:gd name="connsiteX16" fmla="*/ 42480 w 81550"/>
              <a:gd name="connsiteY16" fmla="*/ 54590 h 77092"/>
              <a:gd name="connsiteX17" fmla="*/ 34414 w 81550"/>
              <a:gd name="connsiteY17" fmla="*/ 53440 h 77092"/>
              <a:gd name="connsiteX18" fmla="*/ 39599 w 81550"/>
              <a:gd name="connsiteY18" fmla="*/ 42513 h 77092"/>
              <a:gd name="connsiteX19" fmla="*/ 50545 w 81550"/>
              <a:gd name="connsiteY19" fmla="*/ 36762 h 77092"/>
              <a:gd name="connsiteX20" fmla="*/ 41904 w 81550"/>
              <a:gd name="connsiteY20" fmla="*/ 28136 h 77092"/>
              <a:gd name="connsiteX21" fmla="*/ 81079 w 81550"/>
              <a:gd name="connsiteY21" fmla="*/ 43664 h 77092"/>
              <a:gd name="connsiteX22" fmla="*/ 75317 w 81550"/>
              <a:gd name="connsiteY22" fmla="*/ 47689 h 77092"/>
              <a:gd name="connsiteX23" fmla="*/ 69556 w 81550"/>
              <a:gd name="connsiteY23" fmla="*/ 43664 h 77092"/>
              <a:gd name="connsiteX24" fmla="*/ 58034 w 81550"/>
              <a:gd name="connsiteY24" fmla="*/ 48839 h 77092"/>
              <a:gd name="connsiteX25" fmla="*/ 64948 w 81550"/>
              <a:gd name="connsiteY25" fmla="*/ 64942 h 77092"/>
              <a:gd name="connsiteX26" fmla="*/ 59763 w 81550"/>
              <a:gd name="connsiteY26" fmla="*/ 69543 h 77092"/>
              <a:gd name="connsiteX27" fmla="*/ 64372 w 81550"/>
              <a:gd name="connsiteY27" fmla="*/ 77019 h 77092"/>
              <a:gd name="connsiteX28" fmla="*/ 77046 w 81550"/>
              <a:gd name="connsiteY28" fmla="*/ 62642 h 77092"/>
              <a:gd name="connsiteX29" fmla="*/ 81079 w 81550"/>
              <a:gd name="connsiteY29" fmla="*/ 43664 h 7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1550" h="77092">
                <a:moveTo>
                  <a:pt x="41904" y="28136"/>
                </a:moveTo>
                <a:cubicBezTo>
                  <a:pt x="39023" y="26986"/>
                  <a:pt x="38447" y="18360"/>
                  <a:pt x="41328" y="16059"/>
                </a:cubicBezTo>
                <a:cubicBezTo>
                  <a:pt x="44208" y="13184"/>
                  <a:pt x="45936" y="3407"/>
                  <a:pt x="43056" y="1107"/>
                </a:cubicBezTo>
                <a:cubicBezTo>
                  <a:pt x="40751" y="-1769"/>
                  <a:pt x="30957" y="1107"/>
                  <a:pt x="30382" y="8008"/>
                </a:cubicBezTo>
                <a:cubicBezTo>
                  <a:pt x="29806" y="14909"/>
                  <a:pt x="22316" y="12034"/>
                  <a:pt x="20012" y="13184"/>
                </a:cubicBezTo>
                <a:cubicBezTo>
                  <a:pt x="17707" y="14909"/>
                  <a:pt x="24045" y="17785"/>
                  <a:pt x="20588" y="20660"/>
                </a:cubicBezTo>
                <a:cubicBezTo>
                  <a:pt x="17131" y="23535"/>
                  <a:pt x="15979" y="16059"/>
                  <a:pt x="10218" y="15484"/>
                </a:cubicBezTo>
                <a:cubicBezTo>
                  <a:pt x="5033" y="14909"/>
                  <a:pt x="4457" y="23535"/>
                  <a:pt x="1576" y="28136"/>
                </a:cubicBezTo>
                <a:cubicBezTo>
                  <a:pt x="-1304" y="32737"/>
                  <a:pt x="424" y="41938"/>
                  <a:pt x="1576" y="48264"/>
                </a:cubicBezTo>
                <a:cubicBezTo>
                  <a:pt x="2729" y="54590"/>
                  <a:pt x="10218" y="58616"/>
                  <a:pt x="8490" y="63792"/>
                </a:cubicBezTo>
                <a:cubicBezTo>
                  <a:pt x="7913" y="66092"/>
                  <a:pt x="9642" y="68968"/>
                  <a:pt x="11370" y="71268"/>
                </a:cubicBezTo>
                <a:cubicBezTo>
                  <a:pt x="18284" y="71268"/>
                  <a:pt x="24621" y="71843"/>
                  <a:pt x="27501" y="72993"/>
                </a:cubicBezTo>
                <a:cubicBezTo>
                  <a:pt x="28653" y="73568"/>
                  <a:pt x="30957" y="72993"/>
                  <a:pt x="33838" y="72993"/>
                </a:cubicBezTo>
                <a:cubicBezTo>
                  <a:pt x="31534" y="69543"/>
                  <a:pt x="26349" y="66092"/>
                  <a:pt x="26925" y="63792"/>
                </a:cubicBezTo>
                <a:cubicBezTo>
                  <a:pt x="27501" y="60341"/>
                  <a:pt x="32110" y="62642"/>
                  <a:pt x="36143" y="65517"/>
                </a:cubicBezTo>
                <a:cubicBezTo>
                  <a:pt x="39599" y="68392"/>
                  <a:pt x="47665" y="68968"/>
                  <a:pt x="48817" y="65517"/>
                </a:cubicBezTo>
                <a:cubicBezTo>
                  <a:pt x="49393" y="63217"/>
                  <a:pt x="47665" y="52290"/>
                  <a:pt x="42480" y="54590"/>
                </a:cubicBezTo>
                <a:cubicBezTo>
                  <a:pt x="37295" y="57466"/>
                  <a:pt x="36143" y="56316"/>
                  <a:pt x="34414" y="53440"/>
                </a:cubicBezTo>
                <a:cubicBezTo>
                  <a:pt x="32686" y="50565"/>
                  <a:pt x="37871" y="46539"/>
                  <a:pt x="39599" y="42513"/>
                </a:cubicBezTo>
                <a:cubicBezTo>
                  <a:pt x="40751" y="38488"/>
                  <a:pt x="49393" y="39638"/>
                  <a:pt x="50545" y="36762"/>
                </a:cubicBezTo>
                <a:cubicBezTo>
                  <a:pt x="51697" y="33312"/>
                  <a:pt x="44784" y="29286"/>
                  <a:pt x="41904" y="28136"/>
                </a:cubicBezTo>
                <a:close/>
                <a:moveTo>
                  <a:pt x="81079" y="43664"/>
                </a:moveTo>
                <a:cubicBezTo>
                  <a:pt x="78774" y="42513"/>
                  <a:pt x="77622" y="47114"/>
                  <a:pt x="75317" y="47689"/>
                </a:cubicBezTo>
                <a:cubicBezTo>
                  <a:pt x="73013" y="48264"/>
                  <a:pt x="70133" y="37913"/>
                  <a:pt x="69556" y="43664"/>
                </a:cubicBezTo>
                <a:cubicBezTo>
                  <a:pt x="68404" y="49415"/>
                  <a:pt x="63219" y="41363"/>
                  <a:pt x="58034" y="48839"/>
                </a:cubicBezTo>
                <a:cubicBezTo>
                  <a:pt x="52850" y="56316"/>
                  <a:pt x="60915" y="62642"/>
                  <a:pt x="64948" y="64942"/>
                </a:cubicBezTo>
                <a:cubicBezTo>
                  <a:pt x="68404" y="67242"/>
                  <a:pt x="64948" y="70693"/>
                  <a:pt x="59763" y="69543"/>
                </a:cubicBezTo>
                <a:cubicBezTo>
                  <a:pt x="55154" y="68392"/>
                  <a:pt x="58034" y="76444"/>
                  <a:pt x="64372" y="77019"/>
                </a:cubicBezTo>
                <a:cubicBezTo>
                  <a:pt x="70709" y="78169"/>
                  <a:pt x="77622" y="65517"/>
                  <a:pt x="77046" y="62642"/>
                </a:cubicBezTo>
                <a:cubicBezTo>
                  <a:pt x="76470" y="59766"/>
                  <a:pt x="83383" y="45389"/>
                  <a:pt x="81079" y="4366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7" name="Freeform 362">
            <a:extLst>
              <a:ext uri="{FF2B5EF4-FFF2-40B4-BE49-F238E27FC236}">
                <a16:creationId xmlns:a16="http://schemas.microsoft.com/office/drawing/2014/main" id="{27011E25-FCE9-D5B5-342F-ECF1897C4179}"/>
              </a:ext>
            </a:extLst>
          </p:cNvPr>
          <p:cNvSpPr/>
          <p:nvPr/>
        </p:nvSpPr>
        <p:spPr>
          <a:xfrm>
            <a:off x="11229136" y="1008740"/>
            <a:ext cx="877812" cy="430449"/>
          </a:xfrm>
          <a:custGeom>
            <a:avLst/>
            <a:gdLst>
              <a:gd name="connsiteX0" fmla="*/ 101138 w 106083"/>
              <a:gd name="connsiteY0" fmla="*/ 13488 h 52019"/>
              <a:gd name="connsiteX1" fmla="*/ 104595 w 106083"/>
              <a:gd name="connsiteY1" fmla="*/ 1986 h 52019"/>
              <a:gd name="connsiteX2" fmla="*/ 100562 w 106083"/>
              <a:gd name="connsiteY2" fmla="*/ 3712 h 52019"/>
              <a:gd name="connsiteX3" fmla="*/ 67148 w 106083"/>
              <a:gd name="connsiteY3" fmla="*/ 261 h 52019"/>
              <a:gd name="connsiteX4" fmla="*/ 34310 w 106083"/>
              <a:gd name="connsiteY4" fmla="*/ 6587 h 52019"/>
              <a:gd name="connsiteX5" fmla="*/ 23940 w 106083"/>
              <a:gd name="connsiteY5" fmla="*/ 16939 h 52019"/>
              <a:gd name="connsiteX6" fmla="*/ 27397 w 106083"/>
              <a:gd name="connsiteY6" fmla="*/ 27865 h 52019"/>
              <a:gd name="connsiteX7" fmla="*/ 37767 w 106083"/>
              <a:gd name="connsiteY7" fmla="*/ 33616 h 52019"/>
              <a:gd name="connsiteX8" fmla="*/ 41223 w 106083"/>
              <a:gd name="connsiteY8" fmla="*/ 40517 h 52019"/>
              <a:gd name="connsiteX9" fmla="*/ 41223 w 106083"/>
              <a:gd name="connsiteY9" fmla="*/ 41092 h 52019"/>
              <a:gd name="connsiteX10" fmla="*/ 60235 w 106083"/>
              <a:gd name="connsiteY10" fmla="*/ 40517 h 52019"/>
              <a:gd name="connsiteX11" fmla="*/ 78094 w 106083"/>
              <a:gd name="connsiteY11" fmla="*/ 50869 h 52019"/>
              <a:gd name="connsiteX12" fmla="*/ 94801 w 106083"/>
              <a:gd name="connsiteY12" fmla="*/ 52019 h 52019"/>
              <a:gd name="connsiteX13" fmla="*/ 95377 w 106083"/>
              <a:gd name="connsiteY13" fmla="*/ 47418 h 52019"/>
              <a:gd name="connsiteX14" fmla="*/ 99986 w 106083"/>
              <a:gd name="connsiteY14" fmla="*/ 41668 h 52019"/>
              <a:gd name="connsiteX15" fmla="*/ 95953 w 106083"/>
              <a:gd name="connsiteY15" fmla="*/ 32466 h 52019"/>
              <a:gd name="connsiteX16" fmla="*/ 94801 w 106083"/>
              <a:gd name="connsiteY16" fmla="*/ 22115 h 52019"/>
              <a:gd name="connsiteX17" fmla="*/ 101138 w 106083"/>
              <a:gd name="connsiteY17" fmla="*/ 13488 h 52019"/>
              <a:gd name="connsiteX18" fmla="*/ 8961 w 106083"/>
              <a:gd name="connsiteY18" fmla="*/ 26140 h 52019"/>
              <a:gd name="connsiteX19" fmla="*/ 2048 w 106083"/>
              <a:gd name="connsiteY19" fmla="*/ 41668 h 52019"/>
              <a:gd name="connsiteX20" fmla="*/ 19907 w 106083"/>
              <a:gd name="connsiteY20" fmla="*/ 29591 h 52019"/>
              <a:gd name="connsiteX21" fmla="*/ 8961 w 106083"/>
              <a:gd name="connsiteY21" fmla="*/ 26140 h 52019"/>
              <a:gd name="connsiteX22" fmla="*/ 17027 w 106083"/>
              <a:gd name="connsiteY22" fmla="*/ 18664 h 52019"/>
              <a:gd name="connsiteX23" fmla="*/ 6081 w 106083"/>
              <a:gd name="connsiteY23" fmla="*/ 19814 h 52019"/>
              <a:gd name="connsiteX24" fmla="*/ 17027 w 106083"/>
              <a:gd name="connsiteY24" fmla="*/ 18664 h 5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6083" h="52019">
                <a:moveTo>
                  <a:pt x="101138" y="13488"/>
                </a:moveTo>
                <a:cubicBezTo>
                  <a:pt x="103442" y="8887"/>
                  <a:pt x="108627" y="8312"/>
                  <a:pt x="104595" y="1986"/>
                </a:cubicBezTo>
                <a:cubicBezTo>
                  <a:pt x="104018" y="2561"/>
                  <a:pt x="102866" y="3137"/>
                  <a:pt x="100562" y="3712"/>
                </a:cubicBezTo>
                <a:cubicBezTo>
                  <a:pt x="93073" y="6012"/>
                  <a:pt x="76942" y="-1464"/>
                  <a:pt x="67148" y="261"/>
                </a:cubicBezTo>
                <a:cubicBezTo>
                  <a:pt x="57930" y="1986"/>
                  <a:pt x="38919" y="1986"/>
                  <a:pt x="34310" y="6587"/>
                </a:cubicBezTo>
                <a:cubicBezTo>
                  <a:pt x="29701" y="11188"/>
                  <a:pt x="18755" y="12338"/>
                  <a:pt x="23940" y="16939"/>
                </a:cubicBezTo>
                <a:cubicBezTo>
                  <a:pt x="29125" y="20964"/>
                  <a:pt x="23940" y="23265"/>
                  <a:pt x="27397" y="27865"/>
                </a:cubicBezTo>
                <a:cubicBezTo>
                  <a:pt x="30854" y="33041"/>
                  <a:pt x="32582" y="34767"/>
                  <a:pt x="37767" y="33616"/>
                </a:cubicBezTo>
                <a:cubicBezTo>
                  <a:pt x="42952" y="32466"/>
                  <a:pt x="46408" y="35342"/>
                  <a:pt x="41223" y="40517"/>
                </a:cubicBezTo>
                <a:cubicBezTo>
                  <a:pt x="41223" y="40517"/>
                  <a:pt x="41223" y="40517"/>
                  <a:pt x="41223" y="41092"/>
                </a:cubicBezTo>
                <a:cubicBezTo>
                  <a:pt x="49289" y="40517"/>
                  <a:pt x="58506" y="39942"/>
                  <a:pt x="60235" y="40517"/>
                </a:cubicBezTo>
                <a:cubicBezTo>
                  <a:pt x="62539" y="42243"/>
                  <a:pt x="74637" y="52019"/>
                  <a:pt x="78094" y="50869"/>
                </a:cubicBezTo>
                <a:cubicBezTo>
                  <a:pt x="79822" y="50294"/>
                  <a:pt x="88464" y="50869"/>
                  <a:pt x="94801" y="52019"/>
                </a:cubicBezTo>
                <a:cubicBezTo>
                  <a:pt x="94225" y="50294"/>
                  <a:pt x="94225" y="47994"/>
                  <a:pt x="95377" y="47418"/>
                </a:cubicBezTo>
                <a:cubicBezTo>
                  <a:pt x="97681" y="45693"/>
                  <a:pt x="102866" y="45693"/>
                  <a:pt x="99986" y="41668"/>
                </a:cubicBezTo>
                <a:cubicBezTo>
                  <a:pt x="97105" y="37642"/>
                  <a:pt x="96529" y="37067"/>
                  <a:pt x="95953" y="32466"/>
                </a:cubicBezTo>
                <a:cubicBezTo>
                  <a:pt x="95377" y="27865"/>
                  <a:pt x="94225" y="25565"/>
                  <a:pt x="94801" y="22115"/>
                </a:cubicBezTo>
                <a:cubicBezTo>
                  <a:pt x="95377" y="19239"/>
                  <a:pt x="98834" y="18664"/>
                  <a:pt x="101138" y="13488"/>
                </a:cubicBezTo>
                <a:close/>
                <a:moveTo>
                  <a:pt x="8961" y="26140"/>
                </a:moveTo>
                <a:cubicBezTo>
                  <a:pt x="-256" y="29016"/>
                  <a:pt x="-1984" y="41668"/>
                  <a:pt x="2048" y="41668"/>
                </a:cubicBezTo>
                <a:cubicBezTo>
                  <a:pt x="6657" y="41668"/>
                  <a:pt x="17603" y="32466"/>
                  <a:pt x="19907" y="29591"/>
                </a:cubicBezTo>
                <a:cubicBezTo>
                  <a:pt x="23364" y="26715"/>
                  <a:pt x="18755" y="23840"/>
                  <a:pt x="8961" y="26140"/>
                </a:cubicBezTo>
                <a:close/>
                <a:moveTo>
                  <a:pt x="17027" y="18664"/>
                </a:moveTo>
                <a:cubicBezTo>
                  <a:pt x="19332" y="14638"/>
                  <a:pt x="2048" y="16364"/>
                  <a:pt x="6081" y="19814"/>
                </a:cubicBezTo>
                <a:cubicBezTo>
                  <a:pt x="8961" y="22690"/>
                  <a:pt x="14722" y="22690"/>
                  <a:pt x="17027" y="1866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8" name="Freeform 398">
            <a:extLst>
              <a:ext uri="{FF2B5EF4-FFF2-40B4-BE49-F238E27FC236}">
                <a16:creationId xmlns:a16="http://schemas.microsoft.com/office/drawing/2014/main" id="{2935DF85-B0A2-8821-F7A4-39E172C2F59F}"/>
              </a:ext>
            </a:extLst>
          </p:cNvPr>
          <p:cNvSpPr/>
          <p:nvPr/>
        </p:nvSpPr>
        <p:spPr>
          <a:xfrm>
            <a:off x="9064009" y="3518755"/>
            <a:ext cx="1657763" cy="1822594"/>
          </a:xfrm>
          <a:custGeom>
            <a:avLst/>
            <a:gdLst>
              <a:gd name="connsiteX0" fmla="*/ 138688 w 200339"/>
              <a:gd name="connsiteY0" fmla="*/ 190930 h 220259"/>
              <a:gd name="connsiteX1" fmla="*/ 117372 w 200339"/>
              <a:gd name="connsiteY1" fmla="*/ 190930 h 220259"/>
              <a:gd name="connsiteX2" fmla="*/ 102394 w 200339"/>
              <a:gd name="connsiteY2" fmla="*/ 197831 h 220259"/>
              <a:gd name="connsiteX3" fmla="*/ 120253 w 200339"/>
              <a:gd name="connsiteY3" fmla="*/ 207608 h 220259"/>
              <a:gd name="connsiteX4" fmla="*/ 140416 w 200339"/>
              <a:gd name="connsiteY4" fmla="*/ 220260 h 220259"/>
              <a:gd name="connsiteX5" fmla="*/ 145025 w 200339"/>
              <a:gd name="connsiteY5" fmla="*/ 208183 h 220259"/>
              <a:gd name="connsiteX6" fmla="*/ 152514 w 200339"/>
              <a:gd name="connsiteY6" fmla="*/ 192080 h 220259"/>
              <a:gd name="connsiteX7" fmla="*/ 138688 w 200339"/>
              <a:gd name="connsiteY7" fmla="*/ 190930 h 220259"/>
              <a:gd name="connsiteX8" fmla="*/ 38446 w 200339"/>
              <a:gd name="connsiteY8" fmla="*/ 132271 h 220259"/>
              <a:gd name="connsiteX9" fmla="*/ 25772 w 200339"/>
              <a:gd name="connsiteY9" fmla="*/ 135146 h 220259"/>
              <a:gd name="connsiteX10" fmla="*/ 32109 w 200339"/>
              <a:gd name="connsiteY10" fmla="*/ 157575 h 220259"/>
              <a:gd name="connsiteX11" fmla="*/ 39598 w 200339"/>
              <a:gd name="connsiteY11" fmla="*/ 174252 h 220259"/>
              <a:gd name="connsiteX12" fmla="*/ 51696 w 200339"/>
              <a:gd name="connsiteY12" fmla="*/ 166776 h 220259"/>
              <a:gd name="connsiteX13" fmla="*/ 54577 w 200339"/>
              <a:gd name="connsiteY13" fmla="*/ 138597 h 220259"/>
              <a:gd name="connsiteX14" fmla="*/ 38446 w 200339"/>
              <a:gd name="connsiteY14" fmla="*/ 132271 h 220259"/>
              <a:gd name="connsiteX15" fmla="*/ 165189 w 200339"/>
              <a:gd name="connsiteY15" fmla="*/ 123644 h 220259"/>
              <a:gd name="connsiteX16" fmla="*/ 152514 w 200339"/>
              <a:gd name="connsiteY16" fmla="*/ 113293 h 220259"/>
              <a:gd name="connsiteX17" fmla="*/ 125438 w 200339"/>
              <a:gd name="connsiteY17" fmla="*/ 85113 h 220259"/>
              <a:gd name="connsiteX18" fmla="*/ 100665 w 200339"/>
              <a:gd name="connsiteY18" fmla="*/ 59809 h 220259"/>
              <a:gd name="connsiteX19" fmla="*/ 100665 w 200339"/>
              <a:gd name="connsiteY19" fmla="*/ 41982 h 220259"/>
              <a:gd name="connsiteX20" fmla="*/ 108155 w 200339"/>
              <a:gd name="connsiteY20" fmla="*/ 32205 h 220259"/>
              <a:gd name="connsiteX21" fmla="*/ 109307 w 200339"/>
              <a:gd name="connsiteY21" fmla="*/ 9201 h 220259"/>
              <a:gd name="connsiteX22" fmla="*/ 100665 w 200339"/>
              <a:gd name="connsiteY22" fmla="*/ 7476 h 220259"/>
              <a:gd name="connsiteX23" fmla="*/ 97209 w 200339"/>
              <a:gd name="connsiteY23" fmla="*/ 0 h 220259"/>
              <a:gd name="connsiteX24" fmla="*/ 83382 w 200339"/>
              <a:gd name="connsiteY24" fmla="*/ 1725 h 220259"/>
              <a:gd name="connsiteX25" fmla="*/ 72436 w 200339"/>
              <a:gd name="connsiteY25" fmla="*/ 5176 h 220259"/>
              <a:gd name="connsiteX26" fmla="*/ 70132 w 200339"/>
              <a:gd name="connsiteY26" fmla="*/ 4026 h 220259"/>
              <a:gd name="connsiteX27" fmla="*/ 66675 w 200339"/>
              <a:gd name="connsiteY27" fmla="*/ 6901 h 220259"/>
              <a:gd name="connsiteX28" fmla="*/ 63795 w 200339"/>
              <a:gd name="connsiteY28" fmla="*/ 10927 h 220259"/>
              <a:gd name="connsiteX29" fmla="*/ 58610 w 200339"/>
              <a:gd name="connsiteY29" fmla="*/ 13227 h 220259"/>
              <a:gd name="connsiteX30" fmla="*/ 50544 w 200339"/>
              <a:gd name="connsiteY30" fmla="*/ 15527 h 220259"/>
              <a:gd name="connsiteX31" fmla="*/ 44207 w 200339"/>
              <a:gd name="connsiteY31" fmla="*/ 18978 h 220259"/>
              <a:gd name="connsiteX32" fmla="*/ 39598 w 200339"/>
              <a:gd name="connsiteY32" fmla="*/ 25304 h 220259"/>
              <a:gd name="connsiteX33" fmla="*/ 29805 w 200339"/>
              <a:gd name="connsiteY33" fmla="*/ 13227 h 220259"/>
              <a:gd name="connsiteX34" fmla="*/ 21163 w 200339"/>
              <a:gd name="connsiteY34" fmla="*/ 25879 h 220259"/>
              <a:gd name="connsiteX35" fmla="*/ 6184 w 200339"/>
              <a:gd name="connsiteY35" fmla="*/ 27029 h 220259"/>
              <a:gd name="connsiteX36" fmla="*/ 7913 w 200339"/>
              <a:gd name="connsiteY36" fmla="*/ 35081 h 220259"/>
              <a:gd name="connsiteX37" fmla="*/ 4456 w 200339"/>
              <a:gd name="connsiteY37" fmla="*/ 41982 h 220259"/>
              <a:gd name="connsiteX38" fmla="*/ 999 w 200339"/>
              <a:gd name="connsiteY38" fmla="*/ 46007 h 220259"/>
              <a:gd name="connsiteX39" fmla="*/ 6184 w 200339"/>
              <a:gd name="connsiteY39" fmla="*/ 55209 h 220259"/>
              <a:gd name="connsiteX40" fmla="*/ 10217 w 200339"/>
              <a:gd name="connsiteY40" fmla="*/ 63835 h 220259"/>
              <a:gd name="connsiteX41" fmla="*/ 18282 w 200339"/>
              <a:gd name="connsiteY41" fmla="*/ 66710 h 220259"/>
              <a:gd name="connsiteX42" fmla="*/ 16554 w 200339"/>
              <a:gd name="connsiteY42" fmla="*/ 72461 h 220259"/>
              <a:gd name="connsiteX43" fmla="*/ 25196 w 200339"/>
              <a:gd name="connsiteY43" fmla="*/ 70161 h 220259"/>
              <a:gd name="connsiteX44" fmla="*/ 37294 w 200339"/>
              <a:gd name="connsiteY44" fmla="*/ 59809 h 220259"/>
              <a:gd name="connsiteX45" fmla="*/ 62066 w 200339"/>
              <a:gd name="connsiteY45" fmla="*/ 70161 h 220259"/>
              <a:gd name="connsiteX46" fmla="*/ 67251 w 200339"/>
              <a:gd name="connsiteY46" fmla="*/ 80513 h 220259"/>
              <a:gd name="connsiteX47" fmla="*/ 83958 w 200339"/>
              <a:gd name="connsiteY47" fmla="*/ 101791 h 220259"/>
              <a:gd name="connsiteX48" fmla="*/ 107578 w 200339"/>
              <a:gd name="connsiteY48" fmla="*/ 122494 h 220259"/>
              <a:gd name="connsiteX49" fmla="*/ 124285 w 200339"/>
              <a:gd name="connsiteY49" fmla="*/ 129970 h 220259"/>
              <a:gd name="connsiteX50" fmla="*/ 139840 w 200339"/>
              <a:gd name="connsiteY50" fmla="*/ 140322 h 220259"/>
              <a:gd name="connsiteX51" fmla="*/ 152514 w 200339"/>
              <a:gd name="connsiteY51" fmla="*/ 150674 h 220259"/>
              <a:gd name="connsiteX52" fmla="*/ 158275 w 200339"/>
              <a:gd name="connsiteY52" fmla="*/ 161025 h 220259"/>
              <a:gd name="connsiteX53" fmla="*/ 158852 w 200339"/>
              <a:gd name="connsiteY53" fmla="*/ 180003 h 220259"/>
              <a:gd name="connsiteX54" fmla="*/ 159428 w 200339"/>
              <a:gd name="connsiteY54" fmla="*/ 193805 h 220259"/>
              <a:gd name="connsiteX55" fmla="*/ 168069 w 200339"/>
              <a:gd name="connsiteY55" fmla="*/ 179428 h 220259"/>
              <a:gd name="connsiteX56" fmla="*/ 178439 w 200339"/>
              <a:gd name="connsiteY56" fmla="*/ 169076 h 220259"/>
              <a:gd name="connsiteX57" fmla="*/ 170374 w 200339"/>
              <a:gd name="connsiteY57" fmla="*/ 155274 h 220259"/>
              <a:gd name="connsiteX58" fmla="*/ 187080 w 200339"/>
              <a:gd name="connsiteY58" fmla="*/ 147798 h 220259"/>
              <a:gd name="connsiteX59" fmla="*/ 200331 w 200339"/>
              <a:gd name="connsiteY59" fmla="*/ 148373 h 220259"/>
              <a:gd name="connsiteX60" fmla="*/ 165189 w 200339"/>
              <a:gd name="connsiteY60" fmla="*/ 123644 h 22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00339" h="220259">
                <a:moveTo>
                  <a:pt x="138688" y="190930"/>
                </a:moveTo>
                <a:cubicBezTo>
                  <a:pt x="128318" y="193230"/>
                  <a:pt x="123709" y="193805"/>
                  <a:pt x="117372" y="190930"/>
                </a:cubicBezTo>
                <a:cubicBezTo>
                  <a:pt x="111035" y="188054"/>
                  <a:pt x="101241" y="193805"/>
                  <a:pt x="102394" y="197831"/>
                </a:cubicBezTo>
                <a:cubicBezTo>
                  <a:pt x="103546" y="200706"/>
                  <a:pt x="107578" y="204157"/>
                  <a:pt x="120253" y="207608"/>
                </a:cubicBezTo>
                <a:cubicBezTo>
                  <a:pt x="132927" y="211058"/>
                  <a:pt x="134655" y="219684"/>
                  <a:pt x="140416" y="220260"/>
                </a:cubicBezTo>
                <a:cubicBezTo>
                  <a:pt x="145601" y="220260"/>
                  <a:pt x="146177" y="215084"/>
                  <a:pt x="145025" y="208183"/>
                </a:cubicBezTo>
                <a:cubicBezTo>
                  <a:pt x="143873" y="201282"/>
                  <a:pt x="151362" y="193230"/>
                  <a:pt x="152514" y="192080"/>
                </a:cubicBezTo>
                <a:cubicBezTo>
                  <a:pt x="153667" y="190355"/>
                  <a:pt x="149058" y="188630"/>
                  <a:pt x="138688" y="190930"/>
                </a:cubicBezTo>
                <a:close/>
                <a:moveTo>
                  <a:pt x="38446" y="132271"/>
                </a:moveTo>
                <a:cubicBezTo>
                  <a:pt x="32685" y="137447"/>
                  <a:pt x="28076" y="131696"/>
                  <a:pt x="25772" y="135146"/>
                </a:cubicBezTo>
                <a:cubicBezTo>
                  <a:pt x="22891" y="140322"/>
                  <a:pt x="34413" y="147798"/>
                  <a:pt x="32109" y="157575"/>
                </a:cubicBezTo>
                <a:cubicBezTo>
                  <a:pt x="29805" y="167926"/>
                  <a:pt x="33261" y="180578"/>
                  <a:pt x="39598" y="174252"/>
                </a:cubicBezTo>
                <a:cubicBezTo>
                  <a:pt x="45359" y="168501"/>
                  <a:pt x="48240" y="171377"/>
                  <a:pt x="51696" y="166776"/>
                </a:cubicBezTo>
                <a:cubicBezTo>
                  <a:pt x="55153" y="162175"/>
                  <a:pt x="52273" y="146073"/>
                  <a:pt x="54577" y="138597"/>
                </a:cubicBezTo>
                <a:cubicBezTo>
                  <a:pt x="56881" y="130545"/>
                  <a:pt x="44207" y="127095"/>
                  <a:pt x="38446" y="132271"/>
                </a:cubicBezTo>
                <a:close/>
                <a:moveTo>
                  <a:pt x="165189" y="123644"/>
                </a:moveTo>
                <a:cubicBezTo>
                  <a:pt x="158275" y="119619"/>
                  <a:pt x="162884" y="112718"/>
                  <a:pt x="152514" y="113293"/>
                </a:cubicBezTo>
                <a:cubicBezTo>
                  <a:pt x="142145" y="113868"/>
                  <a:pt x="129470" y="100641"/>
                  <a:pt x="125438" y="85113"/>
                </a:cubicBezTo>
                <a:cubicBezTo>
                  <a:pt x="121405" y="69586"/>
                  <a:pt x="104698" y="69011"/>
                  <a:pt x="100665" y="59809"/>
                </a:cubicBezTo>
                <a:cubicBezTo>
                  <a:pt x="96633" y="50608"/>
                  <a:pt x="104698" y="49458"/>
                  <a:pt x="100665" y="41982"/>
                </a:cubicBezTo>
                <a:cubicBezTo>
                  <a:pt x="98361" y="37956"/>
                  <a:pt x="102970" y="33930"/>
                  <a:pt x="108155" y="32205"/>
                </a:cubicBezTo>
                <a:cubicBezTo>
                  <a:pt x="107578" y="24154"/>
                  <a:pt x="108155" y="14952"/>
                  <a:pt x="109307" y="9201"/>
                </a:cubicBezTo>
                <a:cubicBezTo>
                  <a:pt x="105274" y="8626"/>
                  <a:pt x="101817" y="8051"/>
                  <a:pt x="100665" y="7476"/>
                </a:cubicBezTo>
                <a:cubicBezTo>
                  <a:pt x="98937" y="6326"/>
                  <a:pt x="98361" y="0"/>
                  <a:pt x="97209" y="0"/>
                </a:cubicBezTo>
                <a:cubicBezTo>
                  <a:pt x="96056" y="0"/>
                  <a:pt x="85111" y="0"/>
                  <a:pt x="83382" y="1725"/>
                </a:cubicBezTo>
                <a:cubicBezTo>
                  <a:pt x="81654" y="3451"/>
                  <a:pt x="75893" y="6901"/>
                  <a:pt x="72436" y="5176"/>
                </a:cubicBezTo>
                <a:cubicBezTo>
                  <a:pt x="71860" y="4601"/>
                  <a:pt x="71284" y="4601"/>
                  <a:pt x="70132" y="4026"/>
                </a:cubicBezTo>
                <a:lnTo>
                  <a:pt x="66675" y="6901"/>
                </a:lnTo>
                <a:cubicBezTo>
                  <a:pt x="66675" y="6901"/>
                  <a:pt x="66099" y="10927"/>
                  <a:pt x="63795" y="10927"/>
                </a:cubicBezTo>
                <a:cubicBezTo>
                  <a:pt x="61490" y="10927"/>
                  <a:pt x="58610" y="9201"/>
                  <a:pt x="58610" y="13227"/>
                </a:cubicBezTo>
                <a:cubicBezTo>
                  <a:pt x="58610" y="16678"/>
                  <a:pt x="52849" y="16103"/>
                  <a:pt x="50544" y="15527"/>
                </a:cubicBezTo>
                <a:cubicBezTo>
                  <a:pt x="48240" y="14952"/>
                  <a:pt x="44207" y="16103"/>
                  <a:pt x="44207" y="18978"/>
                </a:cubicBezTo>
                <a:cubicBezTo>
                  <a:pt x="44207" y="21853"/>
                  <a:pt x="43631" y="28755"/>
                  <a:pt x="39598" y="25304"/>
                </a:cubicBezTo>
                <a:cubicBezTo>
                  <a:pt x="35566" y="21853"/>
                  <a:pt x="31533" y="12077"/>
                  <a:pt x="29805" y="13227"/>
                </a:cubicBezTo>
                <a:cubicBezTo>
                  <a:pt x="28076" y="14377"/>
                  <a:pt x="24620" y="25879"/>
                  <a:pt x="21163" y="25879"/>
                </a:cubicBezTo>
                <a:cubicBezTo>
                  <a:pt x="18859" y="25879"/>
                  <a:pt x="11369" y="26454"/>
                  <a:pt x="6184" y="27029"/>
                </a:cubicBezTo>
                <a:cubicBezTo>
                  <a:pt x="5032" y="31630"/>
                  <a:pt x="6184" y="33930"/>
                  <a:pt x="7913" y="35081"/>
                </a:cubicBezTo>
                <a:cubicBezTo>
                  <a:pt x="9641" y="36231"/>
                  <a:pt x="6760" y="40831"/>
                  <a:pt x="4456" y="41982"/>
                </a:cubicBezTo>
                <a:cubicBezTo>
                  <a:pt x="2152" y="43132"/>
                  <a:pt x="-1881" y="41982"/>
                  <a:pt x="999" y="46007"/>
                </a:cubicBezTo>
                <a:cubicBezTo>
                  <a:pt x="3880" y="50033"/>
                  <a:pt x="8489" y="50608"/>
                  <a:pt x="6184" y="55209"/>
                </a:cubicBezTo>
                <a:cubicBezTo>
                  <a:pt x="3304" y="59234"/>
                  <a:pt x="6184" y="63260"/>
                  <a:pt x="10217" y="63835"/>
                </a:cubicBezTo>
                <a:cubicBezTo>
                  <a:pt x="14250" y="64410"/>
                  <a:pt x="19435" y="63260"/>
                  <a:pt x="18282" y="66710"/>
                </a:cubicBezTo>
                <a:cubicBezTo>
                  <a:pt x="17706" y="68436"/>
                  <a:pt x="16554" y="70736"/>
                  <a:pt x="16554" y="72461"/>
                </a:cubicBezTo>
                <a:cubicBezTo>
                  <a:pt x="19435" y="71311"/>
                  <a:pt x="22315" y="71311"/>
                  <a:pt x="25196" y="70161"/>
                </a:cubicBezTo>
                <a:cubicBezTo>
                  <a:pt x="30381" y="67286"/>
                  <a:pt x="28076" y="62685"/>
                  <a:pt x="37294" y="59809"/>
                </a:cubicBezTo>
                <a:cubicBezTo>
                  <a:pt x="46512" y="57509"/>
                  <a:pt x="58034" y="64985"/>
                  <a:pt x="62066" y="70161"/>
                </a:cubicBezTo>
                <a:cubicBezTo>
                  <a:pt x="65523" y="75337"/>
                  <a:pt x="66675" y="75912"/>
                  <a:pt x="67251" y="80513"/>
                </a:cubicBezTo>
                <a:cubicBezTo>
                  <a:pt x="67827" y="85113"/>
                  <a:pt x="71284" y="93740"/>
                  <a:pt x="83958" y="101791"/>
                </a:cubicBezTo>
                <a:cubicBezTo>
                  <a:pt x="96633" y="109842"/>
                  <a:pt x="101241" y="119044"/>
                  <a:pt x="107578" y="122494"/>
                </a:cubicBezTo>
                <a:cubicBezTo>
                  <a:pt x="113916" y="125945"/>
                  <a:pt x="120253" y="125370"/>
                  <a:pt x="124285" y="129970"/>
                </a:cubicBezTo>
                <a:cubicBezTo>
                  <a:pt x="128318" y="134571"/>
                  <a:pt x="133503" y="137447"/>
                  <a:pt x="139840" y="140322"/>
                </a:cubicBezTo>
                <a:cubicBezTo>
                  <a:pt x="146177" y="143197"/>
                  <a:pt x="146177" y="150099"/>
                  <a:pt x="152514" y="150674"/>
                </a:cubicBezTo>
                <a:cubicBezTo>
                  <a:pt x="158275" y="151249"/>
                  <a:pt x="154819" y="156425"/>
                  <a:pt x="158275" y="161025"/>
                </a:cubicBezTo>
                <a:cubicBezTo>
                  <a:pt x="161732" y="165626"/>
                  <a:pt x="162884" y="174827"/>
                  <a:pt x="158852" y="180003"/>
                </a:cubicBezTo>
                <a:cubicBezTo>
                  <a:pt x="154819" y="185179"/>
                  <a:pt x="157123" y="193805"/>
                  <a:pt x="159428" y="193805"/>
                </a:cubicBezTo>
                <a:cubicBezTo>
                  <a:pt x="161732" y="193805"/>
                  <a:pt x="167493" y="184604"/>
                  <a:pt x="168069" y="179428"/>
                </a:cubicBezTo>
                <a:cubicBezTo>
                  <a:pt x="168645" y="174252"/>
                  <a:pt x="173830" y="174252"/>
                  <a:pt x="178439" y="169076"/>
                </a:cubicBezTo>
                <a:cubicBezTo>
                  <a:pt x="182472" y="163901"/>
                  <a:pt x="172102" y="162175"/>
                  <a:pt x="170374" y="155274"/>
                </a:cubicBezTo>
                <a:cubicBezTo>
                  <a:pt x="168645" y="148373"/>
                  <a:pt x="177863" y="142047"/>
                  <a:pt x="187080" y="147798"/>
                </a:cubicBezTo>
                <a:cubicBezTo>
                  <a:pt x="196298" y="153549"/>
                  <a:pt x="199755" y="157575"/>
                  <a:pt x="200331" y="148373"/>
                </a:cubicBezTo>
                <a:cubicBezTo>
                  <a:pt x="200907" y="139747"/>
                  <a:pt x="172102" y="128245"/>
                  <a:pt x="165189" y="12364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09" name="Freeform 399">
            <a:extLst>
              <a:ext uri="{FF2B5EF4-FFF2-40B4-BE49-F238E27FC236}">
                <a16:creationId xmlns:a16="http://schemas.microsoft.com/office/drawing/2014/main" id="{9CCC017A-50A4-E756-15DD-2A10AA1C094D}"/>
              </a:ext>
            </a:extLst>
          </p:cNvPr>
          <p:cNvSpPr/>
          <p:nvPr/>
        </p:nvSpPr>
        <p:spPr>
          <a:xfrm>
            <a:off x="10721700" y="4189741"/>
            <a:ext cx="176379" cy="233177"/>
          </a:xfrm>
          <a:custGeom>
            <a:avLst/>
            <a:gdLst>
              <a:gd name="connsiteX0" fmla="*/ 7489 w 21315"/>
              <a:gd name="connsiteY0" fmla="*/ 0 h 28179"/>
              <a:gd name="connsiteX1" fmla="*/ 576 w 21315"/>
              <a:gd name="connsiteY1" fmla="*/ 13227 h 28179"/>
              <a:gd name="connsiteX2" fmla="*/ 0 w 21315"/>
              <a:gd name="connsiteY2" fmla="*/ 18403 h 28179"/>
              <a:gd name="connsiteX3" fmla="*/ 12098 w 21315"/>
              <a:gd name="connsiteY3" fmla="*/ 27604 h 28179"/>
              <a:gd name="connsiteX4" fmla="*/ 13250 w 21315"/>
              <a:gd name="connsiteY4" fmla="*/ 28179 h 28179"/>
              <a:gd name="connsiteX5" fmla="*/ 21316 w 21315"/>
              <a:gd name="connsiteY5" fmla="*/ 15527 h 28179"/>
              <a:gd name="connsiteX6" fmla="*/ 7489 w 21315"/>
              <a:gd name="connsiteY6" fmla="*/ 0 h 2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5" h="28179">
                <a:moveTo>
                  <a:pt x="7489" y="0"/>
                </a:moveTo>
                <a:cubicBezTo>
                  <a:pt x="4032" y="4601"/>
                  <a:pt x="576" y="10927"/>
                  <a:pt x="576" y="13227"/>
                </a:cubicBezTo>
                <a:cubicBezTo>
                  <a:pt x="576" y="14377"/>
                  <a:pt x="576" y="16102"/>
                  <a:pt x="0" y="18403"/>
                </a:cubicBezTo>
                <a:cubicBezTo>
                  <a:pt x="4609" y="21853"/>
                  <a:pt x="9218" y="25879"/>
                  <a:pt x="12098" y="27604"/>
                </a:cubicBezTo>
                <a:cubicBezTo>
                  <a:pt x="12674" y="27604"/>
                  <a:pt x="12674" y="28179"/>
                  <a:pt x="13250" y="28179"/>
                </a:cubicBezTo>
                <a:cubicBezTo>
                  <a:pt x="14403" y="22428"/>
                  <a:pt x="18435" y="16678"/>
                  <a:pt x="21316" y="15527"/>
                </a:cubicBezTo>
                <a:cubicBezTo>
                  <a:pt x="17283" y="10927"/>
                  <a:pt x="11522" y="4026"/>
                  <a:pt x="7489" y="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110" name="Freeform 400">
            <a:extLst>
              <a:ext uri="{FF2B5EF4-FFF2-40B4-BE49-F238E27FC236}">
                <a16:creationId xmlns:a16="http://schemas.microsoft.com/office/drawing/2014/main" id="{0066AC6E-603C-F992-402E-73FDECE8D06B}"/>
              </a:ext>
            </a:extLst>
          </p:cNvPr>
          <p:cNvSpPr/>
          <p:nvPr/>
        </p:nvSpPr>
        <p:spPr>
          <a:xfrm>
            <a:off x="10764600" y="3675793"/>
            <a:ext cx="583763" cy="718565"/>
          </a:xfrm>
          <a:custGeom>
            <a:avLst/>
            <a:gdLst>
              <a:gd name="connsiteX0" fmla="*/ 63948 w 70547"/>
              <a:gd name="connsiteY0" fmla="*/ 58084 h 86838"/>
              <a:gd name="connsiteX1" fmla="*/ 63948 w 70547"/>
              <a:gd name="connsiteY1" fmla="*/ 46007 h 86838"/>
              <a:gd name="connsiteX2" fmla="*/ 64524 w 70547"/>
              <a:gd name="connsiteY2" fmla="*/ 36806 h 86838"/>
              <a:gd name="connsiteX3" fmla="*/ 44936 w 70547"/>
              <a:gd name="connsiteY3" fmla="*/ 31055 h 86838"/>
              <a:gd name="connsiteX4" fmla="*/ 42632 w 70547"/>
              <a:gd name="connsiteY4" fmla="*/ 20128 h 86838"/>
              <a:gd name="connsiteX5" fmla="*/ 36871 w 70547"/>
              <a:gd name="connsiteY5" fmla="*/ 13802 h 86838"/>
              <a:gd name="connsiteX6" fmla="*/ 30533 w 70547"/>
              <a:gd name="connsiteY6" fmla="*/ 3450 h 86838"/>
              <a:gd name="connsiteX7" fmla="*/ 31110 w 70547"/>
              <a:gd name="connsiteY7" fmla="*/ 2875 h 86838"/>
              <a:gd name="connsiteX8" fmla="*/ 25925 w 70547"/>
              <a:gd name="connsiteY8" fmla="*/ 2300 h 86838"/>
              <a:gd name="connsiteX9" fmla="*/ 18435 w 70547"/>
              <a:gd name="connsiteY9" fmla="*/ 0 h 86838"/>
              <a:gd name="connsiteX10" fmla="*/ 0 w 70547"/>
              <a:gd name="connsiteY10" fmla="*/ 5751 h 86838"/>
              <a:gd name="connsiteX11" fmla="*/ 4609 w 70547"/>
              <a:gd name="connsiteY11" fmla="*/ 16103 h 86838"/>
              <a:gd name="connsiteX12" fmla="*/ 10370 w 70547"/>
              <a:gd name="connsiteY12" fmla="*/ 28755 h 86838"/>
              <a:gd name="connsiteX13" fmla="*/ 9218 w 70547"/>
              <a:gd name="connsiteY13" fmla="*/ 55784 h 86838"/>
              <a:gd name="connsiteX14" fmla="*/ 2881 w 70547"/>
              <a:gd name="connsiteY14" fmla="*/ 62110 h 86838"/>
              <a:gd name="connsiteX15" fmla="*/ 16707 w 70547"/>
              <a:gd name="connsiteY15" fmla="*/ 77637 h 86838"/>
              <a:gd name="connsiteX16" fmla="*/ 17283 w 70547"/>
              <a:gd name="connsiteY16" fmla="*/ 77637 h 86838"/>
              <a:gd name="connsiteX17" fmla="*/ 33414 w 70547"/>
              <a:gd name="connsiteY17" fmla="*/ 86839 h 86838"/>
              <a:gd name="connsiteX18" fmla="*/ 63371 w 70547"/>
              <a:gd name="connsiteY18" fmla="*/ 81088 h 86838"/>
              <a:gd name="connsiteX19" fmla="*/ 63948 w 70547"/>
              <a:gd name="connsiteY19" fmla="*/ 75912 h 86838"/>
              <a:gd name="connsiteX20" fmla="*/ 69709 w 70547"/>
              <a:gd name="connsiteY20" fmla="*/ 69011 h 86838"/>
              <a:gd name="connsiteX21" fmla="*/ 63948 w 70547"/>
              <a:gd name="connsiteY21" fmla="*/ 58084 h 8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547" h="86838">
                <a:moveTo>
                  <a:pt x="63948" y="58084"/>
                </a:moveTo>
                <a:cubicBezTo>
                  <a:pt x="59915" y="54634"/>
                  <a:pt x="60491" y="48308"/>
                  <a:pt x="63948" y="46007"/>
                </a:cubicBezTo>
                <a:cubicBezTo>
                  <a:pt x="67404" y="43707"/>
                  <a:pt x="64524" y="40831"/>
                  <a:pt x="64524" y="36806"/>
                </a:cubicBezTo>
                <a:cubicBezTo>
                  <a:pt x="64524" y="32780"/>
                  <a:pt x="47816" y="31630"/>
                  <a:pt x="44936" y="31055"/>
                </a:cubicBezTo>
                <a:cubicBezTo>
                  <a:pt x="42055" y="30480"/>
                  <a:pt x="46665" y="20128"/>
                  <a:pt x="42632" y="20128"/>
                </a:cubicBezTo>
                <a:cubicBezTo>
                  <a:pt x="38599" y="20128"/>
                  <a:pt x="36871" y="17253"/>
                  <a:pt x="36871" y="13802"/>
                </a:cubicBezTo>
                <a:cubicBezTo>
                  <a:pt x="36871" y="10927"/>
                  <a:pt x="30533" y="5751"/>
                  <a:pt x="30533" y="3450"/>
                </a:cubicBezTo>
                <a:cubicBezTo>
                  <a:pt x="30533" y="3450"/>
                  <a:pt x="30533" y="2875"/>
                  <a:pt x="31110" y="2875"/>
                </a:cubicBezTo>
                <a:cubicBezTo>
                  <a:pt x="28805" y="2300"/>
                  <a:pt x="27077" y="2300"/>
                  <a:pt x="25925" y="2300"/>
                </a:cubicBezTo>
                <a:cubicBezTo>
                  <a:pt x="23044" y="1725"/>
                  <a:pt x="18435" y="0"/>
                  <a:pt x="18435" y="0"/>
                </a:cubicBezTo>
                <a:cubicBezTo>
                  <a:pt x="18435" y="0"/>
                  <a:pt x="7489" y="3450"/>
                  <a:pt x="0" y="5751"/>
                </a:cubicBezTo>
                <a:cubicBezTo>
                  <a:pt x="576" y="10352"/>
                  <a:pt x="1728" y="15527"/>
                  <a:pt x="4609" y="16103"/>
                </a:cubicBezTo>
                <a:cubicBezTo>
                  <a:pt x="10370" y="18403"/>
                  <a:pt x="8066" y="23579"/>
                  <a:pt x="10370" y="28755"/>
                </a:cubicBezTo>
                <a:cubicBezTo>
                  <a:pt x="12674" y="33355"/>
                  <a:pt x="11522" y="55784"/>
                  <a:pt x="9218" y="55784"/>
                </a:cubicBezTo>
                <a:cubicBezTo>
                  <a:pt x="8066" y="55784"/>
                  <a:pt x="5185" y="58659"/>
                  <a:pt x="2881" y="62110"/>
                </a:cubicBezTo>
                <a:cubicBezTo>
                  <a:pt x="6913" y="66135"/>
                  <a:pt x="12674" y="73036"/>
                  <a:pt x="16707" y="77637"/>
                </a:cubicBezTo>
                <a:cubicBezTo>
                  <a:pt x="16707" y="77637"/>
                  <a:pt x="17283" y="77637"/>
                  <a:pt x="17283" y="77637"/>
                </a:cubicBezTo>
                <a:cubicBezTo>
                  <a:pt x="20740" y="77637"/>
                  <a:pt x="33414" y="86839"/>
                  <a:pt x="33414" y="86839"/>
                </a:cubicBezTo>
                <a:cubicBezTo>
                  <a:pt x="33414" y="86839"/>
                  <a:pt x="51273" y="82813"/>
                  <a:pt x="63371" y="81088"/>
                </a:cubicBezTo>
                <a:cubicBezTo>
                  <a:pt x="63371" y="79362"/>
                  <a:pt x="63948" y="77062"/>
                  <a:pt x="63948" y="75912"/>
                </a:cubicBezTo>
                <a:cubicBezTo>
                  <a:pt x="63371" y="73612"/>
                  <a:pt x="66252" y="69011"/>
                  <a:pt x="69709" y="69011"/>
                </a:cubicBezTo>
                <a:cubicBezTo>
                  <a:pt x="72589" y="69011"/>
                  <a:pt x="67404" y="61535"/>
                  <a:pt x="63948" y="5808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cxnSp>
        <p:nvCxnSpPr>
          <p:cNvPr id="9" name="Conector recto 8"/>
          <p:cNvCxnSpPr>
            <a:stCxn id="64" idx="6"/>
            <a:endCxn id="13" idx="28"/>
          </p:cNvCxnSpPr>
          <p:nvPr/>
        </p:nvCxnSpPr>
        <p:spPr>
          <a:xfrm>
            <a:off x="6178629" y="6798772"/>
            <a:ext cx="525184" cy="13037"/>
          </a:xfrm>
          <a:prstGeom prst="line">
            <a:avLst/>
          </a:prstGeom>
        </p:spPr>
        <p:style>
          <a:lnRef idx="2">
            <a:schemeClr val="accent1"/>
          </a:lnRef>
          <a:fillRef idx="0">
            <a:schemeClr val="accent1"/>
          </a:fillRef>
          <a:effectRef idx="1">
            <a:schemeClr val="accent1"/>
          </a:effectRef>
          <a:fontRef idx="minor">
            <a:schemeClr val="tx1"/>
          </a:fontRef>
        </p:style>
      </p:cxnSp>
      <p:grpSp>
        <p:nvGrpSpPr>
          <p:cNvPr id="24" name="Grupo 23"/>
          <p:cNvGrpSpPr/>
          <p:nvPr/>
        </p:nvGrpSpPr>
        <p:grpSpPr>
          <a:xfrm>
            <a:off x="5606576" y="5491334"/>
            <a:ext cx="2322770" cy="2310284"/>
            <a:chOff x="6361950" y="4250931"/>
            <a:chExt cx="2322770" cy="2310284"/>
          </a:xfrm>
        </p:grpSpPr>
        <p:grpSp>
          <p:nvGrpSpPr>
            <p:cNvPr id="4" name="Grupo 3"/>
            <p:cNvGrpSpPr/>
            <p:nvPr/>
          </p:nvGrpSpPr>
          <p:grpSpPr>
            <a:xfrm>
              <a:off x="6361950" y="4250931"/>
              <a:ext cx="2322770" cy="2310284"/>
              <a:chOff x="6361950" y="4250931"/>
              <a:chExt cx="2322770" cy="2310284"/>
            </a:xfrm>
          </p:grpSpPr>
          <p:sp>
            <p:nvSpPr>
              <p:cNvPr id="13" name="Freeform 233">
                <a:extLst>
                  <a:ext uri="{FF2B5EF4-FFF2-40B4-BE49-F238E27FC236}">
                    <a16:creationId xmlns:a16="http://schemas.microsoft.com/office/drawing/2014/main" id="{14616965-DBB8-8478-1BE4-50EC9639D4C7}"/>
                  </a:ext>
                </a:extLst>
              </p:cNvPr>
              <p:cNvSpPr/>
              <p:nvPr/>
            </p:nvSpPr>
            <p:spPr>
              <a:xfrm>
                <a:off x="6910173" y="4250931"/>
                <a:ext cx="1774547" cy="1377571"/>
              </a:xfrm>
              <a:custGeom>
                <a:avLst/>
                <a:gdLst>
                  <a:gd name="connsiteX0" fmla="*/ 76622 w 210419"/>
                  <a:gd name="connsiteY0" fmla="*/ 166480 h 166479"/>
                  <a:gd name="connsiteX1" fmla="*/ 76046 w 210419"/>
                  <a:gd name="connsiteY1" fmla="*/ 142901 h 166479"/>
                  <a:gd name="connsiteX2" fmla="*/ 104275 w 210419"/>
                  <a:gd name="connsiteY2" fmla="*/ 124498 h 166479"/>
                  <a:gd name="connsiteX3" fmla="*/ 115797 w 210419"/>
                  <a:gd name="connsiteY3" fmla="*/ 121048 h 166479"/>
                  <a:gd name="connsiteX4" fmla="*/ 131352 w 210419"/>
                  <a:gd name="connsiteY4" fmla="*/ 117597 h 166479"/>
                  <a:gd name="connsiteX5" fmla="*/ 140569 w 210419"/>
                  <a:gd name="connsiteY5" fmla="*/ 107246 h 166479"/>
                  <a:gd name="connsiteX6" fmla="*/ 153820 w 210419"/>
                  <a:gd name="connsiteY6" fmla="*/ 102645 h 166479"/>
                  <a:gd name="connsiteX7" fmla="*/ 161885 w 210419"/>
                  <a:gd name="connsiteY7" fmla="*/ 97469 h 166479"/>
                  <a:gd name="connsiteX8" fmla="*/ 164189 w 210419"/>
                  <a:gd name="connsiteY8" fmla="*/ 86542 h 166479"/>
                  <a:gd name="connsiteX9" fmla="*/ 169950 w 210419"/>
                  <a:gd name="connsiteY9" fmla="*/ 81942 h 166479"/>
                  <a:gd name="connsiteX10" fmla="*/ 180320 w 210419"/>
                  <a:gd name="connsiteY10" fmla="*/ 75616 h 166479"/>
                  <a:gd name="connsiteX11" fmla="*/ 206245 w 210419"/>
                  <a:gd name="connsiteY11" fmla="*/ 74465 h 166479"/>
                  <a:gd name="connsiteX12" fmla="*/ 210277 w 210419"/>
                  <a:gd name="connsiteY12" fmla="*/ 67564 h 166479"/>
                  <a:gd name="connsiteX13" fmla="*/ 203364 w 210419"/>
                  <a:gd name="connsiteY13" fmla="*/ 55487 h 166479"/>
                  <a:gd name="connsiteX14" fmla="*/ 202212 w 210419"/>
                  <a:gd name="connsiteY14" fmla="*/ 39385 h 166479"/>
                  <a:gd name="connsiteX15" fmla="*/ 197027 w 210419"/>
                  <a:gd name="connsiteY15" fmla="*/ 20982 h 166479"/>
                  <a:gd name="connsiteX16" fmla="*/ 194147 w 210419"/>
                  <a:gd name="connsiteY16" fmla="*/ 15806 h 166479"/>
                  <a:gd name="connsiteX17" fmla="*/ 173983 w 210419"/>
                  <a:gd name="connsiteY17" fmla="*/ 11205 h 166479"/>
                  <a:gd name="connsiteX18" fmla="*/ 144026 w 210419"/>
                  <a:gd name="connsiteY18" fmla="*/ 8330 h 166479"/>
                  <a:gd name="connsiteX19" fmla="*/ 127895 w 210419"/>
                  <a:gd name="connsiteY19" fmla="*/ 854 h 166479"/>
                  <a:gd name="connsiteX20" fmla="*/ 108884 w 210419"/>
                  <a:gd name="connsiteY20" fmla="*/ 36509 h 166479"/>
                  <a:gd name="connsiteX21" fmla="*/ 82383 w 210419"/>
                  <a:gd name="connsiteY21" fmla="*/ 49161 h 166479"/>
                  <a:gd name="connsiteX22" fmla="*/ 69132 w 210419"/>
                  <a:gd name="connsiteY22" fmla="*/ 64114 h 166479"/>
                  <a:gd name="connsiteX23" fmla="*/ 59339 w 210419"/>
                  <a:gd name="connsiteY23" fmla="*/ 80791 h 166479"/>
                  <a:gd name="connsiteX24" fmla="*/ 59339 w 210419"/>
                  <a:gd name="connsiteY24" fmla="*/ 107246 h 166479"/>
                  <a:gd name="connsiteX25" fmla="*/ 38599 w 210419"/>
                  <a:gd name="connsiteY25" fmla="*/ 136000 h 166479"/>
                  <a:gd name="connsiteX26" fmla="*/ 12674 w 210419"/>
                  <a:gd name="connsiteY26" fmla="*/ 153253 h 166479"/>
                  <a:gd name="connsiteX27" fmla="*/ 0 w 210419"/>
                  <a:gd name="connsiteY27" fmla="*/ 159579 h 166479"/>
                  <a:gd name="connsiteX28" fmla="*/ 65100 w 210419"/>
                  <a:gd name="connsiteY28" fmla="*/ 159579 h 166479"/>
                  <a:gd name="connsiteX29" fmla="*/ 76622 w 210419"/>
                  <a:gd name="connsiteY29" fmla="*/ 166480 h 166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419" h="166479">
                    <a:moveTo>
                      <a:pt x="76622" y="166480"/>
                    </a:moveTo>
                    <a:cubicBezTo>
                      <a:pt x="76622" y="154978"/>
                      <a:pt x="76046" y="143476"/>
                      <a:pt x="76046" y="142901"/>
                    </a:cubicBezTo>
                    <a:cubicBezTo>
                      <a:pt x="76622" y="140601"/>
                      <a:pt x="100242" y="126799"/>
                      <a:pt x="104275" y="124498"/>
                    </a:cubicBezTo>
                    <a:cubicBezTo>
                      <a:pt x="108307" y="122198"/>
                      <a:pt x="115797" y="125648"/>
                      <a:pt x="115797" y="121048"/>
                    </a:cubicBezTo>
                    <a:cubicBezTo>
                      <a:pt x="115797" y="116447"/>
                      <a:pt x="125590" y="118747"/>
                      <a:pt x="131352" y="117597"/>
                    </a:cubicBezTo>
                    <a:cubicBezTo>
                      <a:pt x="137113" y="116447"/>
                      <a:pt x="140569" y="112421"/>
                      <a:pt x="140569" y="107246"/>
                    </a:cubicBezTo>
                    <a:cubicBezTo>
                      <a:pt x="140569" y="102070"/>
                      <a:pt x="148635" y="103220"/>
                      <a:pt x="153820" y="102645"/>
                    </a:cubicBezTo>
                    <a:cubicBezTo>
                      <a:pt x="159004" y="102070"/>
                      <a:pt x="158428" y="97469"/>
                      <a:pt x="161885" y="97469"/>
                    </a:cubicBezTo>
                    <a:cubicBezTo>
                      <a:pt x="165342" y="97469"/>
                      <a:pt x="163613" y="92293"/>
                      <a:pt x="164189" y="86542"/>
                    </a:cubicBezTo>
                    <a:cubicBezTo>
                      <a:pt x="164765" y="80791"/>
                      <a:pt x="164765" y="81942"/>
                      <a:pt x="169950" y="81942"/>
                    </a:cubicBezTo>
                    <a:cubicBezTo>
                      <a:pt x="175135" y="81942"/>
                      <a:pt x="180320" y="79066"/>
                      <a:pt x="180320" y="75616"/>
                    </a:cubicBezTo>
                    <a:cubicBezTo>
                      <a:pt x="180320" y="72165"/>
                      <a:pt x="202788" y="74465"/>
                      <a:pt x="206245" y="74465"/>
                    </a:cubicBezTo>
                    <a:cubicBezTo>
                      <a:pt x="209702" y="74465"/>
                      <a:pt x="210854" y="70440"/>
                      <a:pt x="210277" y="67564"/>
                    </a:cubicBezTo>
                    <a:cubicBezTo>
                      <a:pt x="209702" y="64689"/>
                      <a:pt x="206821" y="56063"/>
                      <a:pt x="203364" y="55487"/>
                    </a:cubicBezTo>
                    <a:cubicBezTo>
                      <a:pt x="199908" y="54912"/>
                      <a:pt x="202212" y="46286"/>
                      <a:pt x="202212" y="39385"/>
                    </a:cubicBezTo>
                    <a:cubicBezTo>
                      <a:pt x="202212" y="32484"/>
                      <a:pt x="201060" y="26158"/>
                      <a:pt x="197027" y="20982"/>
                    </a:cubicBezTo>
                    <a:cubicBezTo>
                      <a:pt x="196451" y="19832"/>
                      <a:pt x="195299" y="18107"/>
                      <a:pt x="194147" y="15806"/>
                    </a:cubicBezTo>
                    <a:cubicBezTo>
                      <a:pt x="187810" y="15806"/>
                      <a:pt x="180320" y="11205"/>
                      <a:pt x="173983" y="11205"/>
                    </a:cubicBezTo>
                    <a:cubicBezTo>
                      <a:pt x="164765" y="11205"/>
                      <a:pt x="150939" y="15806"/>
                      <a:pt x="144026" y="8330"/>
                    </a:cubicBezTo>
                    <a:cubicBezTo>
                      <a:pt x="137113" y="854"/>
                      <a:pt x="132504" y="-1447"/>
                      <a:pt x="127895" y="854"/>
                    </a:cubicBezTo>
                    <a:cubicBezTo>
                      <a:pt x="122710" y="3154"/>
                      <a:pt x="114068" y="29033"/>
                      <a:pt x="108884" y="36509"/>
                    </a:cubicBezTo>
                    <a:cubicBezTo>
                      <a:pt x="103698" y="43986"/>
                      <a:pt x="89296" y="49161"/>
                      <a:pt x="82383" y="49161"/>
                    </a:cubicBezTo>
                    <a:cubicBezTo>
                      <a:pt x="75469" y="49161"/>
                      <a:pt x="74893" y="59513"/>
                      <a:pt x="69132" y="64114"/>
                    </a:cubicBezTo>
                    <a:cubicBezTo>
                      <a:pt x="63947" y="68714"/>
                      <a:pt x="65676" y="75616"/>
                      <a:pt x="59339" y="80791"/>
                    </a:cubicBezTo>
                    <a:cubicBezTo>
                      <a:pt x="53002" y="85967"/>
                      <a:pt x="55882" y="101495"/>
                      <a:pt x="59339" y="107246"/>
                    </a:cubicBezTo>
                    <a:cubicBezTo>
                      <a:pt x="62795" y="112996"/>
                      <a:pt x="47240" y="130824"/>
                      <a:pt x="38599" y="136000"/>
                    </a:cubicBezTo>
                    <a:cubicBezTo>
                      <a:pt x="29957" y="141176"/>
                      <a:pt x="27077" y="150952"/>
                      <a:pt x="12674" y="153253"/>
                    </a:cubicBezTo>
                    <a:cubicBezTo>
                      <a:pt x="7489" y="154403"/>
                      <a:pt x="2881" y="156703"/>
                      <a:pt x="0" y="159579"/>
                    </a:cubicBezTo>
                    <a:cubicBezTo>
                      <a:pt x="21892" y="159579"/>
                      <a:pt x="54154" y="159579"/>
                      <a:pt x="65100" y="159579"/>
                    </a:cubicBezTo>
                    <a:cubicBezTo>
                      <a:pt x="77774" y="159579"/>
                      <a:pt x="74317" y="162454"/>
                      <a:pt x="76622" y="166480"/>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sp>
            <p:nvSpPr>
              <p:cNvPr id="64" name="Freeform 250">
                <a:extLst>
                  <a:ext uri="{FF2B5EF4-FFF2-40B4-BE49-F238E27FC236}">
                    <a16:creationId xmlns:a16="http://schemas.microsoft.com/office/drawing/2014/main" id="{595E7FC1-0D00-15E1-E5C4-4059E038AF5C}"/>
                  </a:ext>
                </a:extLst>
              </p:cNvPr>
              <p:cNvSpPr/>
              <p:nvPr/>
            </p:nvSpPr>
            <p:spPr>
              <a:xfrm>
                <a:off x="6361950" y="5558369"/>
                <a:ext cx="1216808" cy="1002846"/>
              </a:xfrm>
              <a:custGeom>
                <a:avLst/>
                <a:gdLst>
                  <a:gd name="connsiteX0" fmla="*/ 69132 w 147050"/>
                  <a:gd name="connsiteY0" fmla="*/ 92014 h 119618"/>
                  <a:gd name="connsiteX1" fmla="*/ 87568 w 147050"/>
                  <a:gd name="connsiteY1" fmla="*/ 78787 h 119618"/>
                  <a:gd name="connsiteX2" fmla="*/ 87568 w 147050"/>
                  <a:gd name="connsiteY2" fmla="*/ 32205 h 119618"/>
                  <a:gd name="connsiteX3" fmla="*/ 146330 w 147050"/>
                  <a:gd name="connsiteY3" fmla="*/ 32205 h 119618"/>
                  <a:gd name="connsiteX4" fmla="*/ 146906 w 147050"/>
                  <a:gd name="connsiteY4" fmla="*/ 6901 h 119618"/>
                  <a:gd name="connsiteX5" fmla="*/ 134232 w 147050"/>
                  <a:gd name="connsiteY5" fmla="*/ 0 h 119618"/>
                  <a:gd name="connsiteX6" fmla="*/ 69132 w 147050"/>
                  <a:gd name="connsiteY6" fmla="*/ 0 h 119618"/>
                  <a:gd name="connsiteX7" fmla="*/ 59339 w 147050"/>
                  <a:gd name="connsiteY7" fmla="*/ 16102 h 119618"/>
                  <a:gd name="connsiteX8" fmla="*/ 36294 w 147050"/>
                  <a:gd name="connsiteY8" fmla="*/ 48308 h 119618"/>
                  <a:gd name="connsiteX9" fmla="*/ 5185 w 147050"/>
                  <a:gd name="connsiteY9" fmla="*/ 102941 h 119618"/>
                  <a:gd name="connsiteX10" fmla="*/ 0 w 147050"/>
                  <a:gd name="connsiteY10" fmla="*/ 119619 h 119618"/>
                  <a:gd name="connsiteX11" fmla="*/ 69132 w 147050"/>
                  <a:gd name="connsiteY11" fmla="*/ 119619 h 119618"/>
                  <a:gd name="connsiteX12" fmla="*/ 69132 w 147050"/>
                  <a:gd name="connsiteY12" fmla="*/ 92014 h 11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050" h="119618">
                    <a:moveTo>
                      <a:pt x="69132" y="92014"/>
                    </a:moveTo>
                    <a:cubicBezTo>
                      <a:pt x="69132" y="87989"/>
                      <a:pt x="87568" y="82813"/>
                      <a:pt x="87568" y="78787"/>
                    </a:cubicBezTo>
                    <a:cubicBezTo>
                      <a:pt x="87568" y="74762"/>
                      <a:pt x="87568" y="32205"/>
                      <a:pt x="87568" y="32205"/>
                    </a:cubicBezTo>
                    <a:cubicBezTo>
                      <a:pt x="87568" y="32205"/>
                      <a:pt x="144602" y="33355"/>
                      <a:pt x="146330" y="32205"/>
                    </a:cubicBezTo>
                    <a:cubicBezTo>
                      <a:pt x="147482" y="31630"/>
                      <a:pt x="146906" y="18978"/>
                      <a:pt x="146906" y="6901"/>
                    </a:cubicBezTo>
                    <a:cubicBezTo>
                      <a:pt x="144602" y="3450"/>
                      <a:pt x="148058" y="0"/>
                      <a:pt x="134232" y="0"/>
                    </a:cubicBezTo>
                    <a:cubicBezTo>
                      <a:pt x="123286" y="0"/>
                      <a:pt x="91024" y="0"/>
                      <a:pt x="69132" y="0"/>
                    </a:cubicBezTo>
                    <a:cubicBezTo>
                      <a:pt x="63947" y="4601"/>
                      <a:pt x="61643" y="10927"/>
                      <a:pt x="59339" y="16102"/>
                    </a:cubicBezTo>
                    <a:cubicBezTo>
                      <a:pt x="56458" y="24154"/>
                      <a:pt x="36871" y="36806"/>
                      <a:pt x="36294" y="48308"/>
                    </a:cubicBezTo>
                    <a:cubicBezTo>
                      <a:pt x="35718" y="59809"/>
                      <a:pt x="17283" y="78212"/>
                      <a:pt x="5185" y="102941"/>
                    </a:cubicBezTo>
                    <a:cubicBezTo>
                      <a:pt x="1728" y="109842"/>
                      <a:pt x="576" y="115018"/>
                      <a:pt x="0" y="119619"/>
                    </a:cubicBezTo>
                    <a:lnTo>
                      <a:pt x="69132" y="119619"/>
                    </a:lnTo>
                    <a:cubicBezTo>
                      <a:pt x="69132" y="119044"/>
                      <a:pt x="69132" y="96040"/>
                      <a:pt x="69132" y="92014"/>
                    </a:cubicBezTo>
                    <a:close/>
                  </a:path>
                </a:pathLst>
              </a:custGeom>
              <a:solidFill>
                <a:srgbClr val="0042ED"/>
              </a:solidFill>
              <a:ln w="2082"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ES" sz="3200" b="0" i="0" u="none" strike="noStrike" kern="0" cap="none" spc="0" normalizeH="0" baseline="0" noProof="0">
                  <a:ln>
                    <a:noFill/>
                  </a:ln>
                  <a:solidFill>
                    <a:prstClr val="black"/>
                  </a:solidFill>
                  <a:effectLst/>
                  <a:uLnTx/>
                  <a:uFillTx/>
                </a:endParaRPr>
              </a:p>
            </p:txBody>
          </p:sp>
        </p:grpSp>
        <p:sp>
          <p:nvSpPr>
            <p:cNvPr id="23" name="Rectángulo 22"/>
            <p:cNvSpPr/>
            <p:nvPr/>
          </p:nvSpPr>
          <p:spPr>
            <a:xfrm>
              <a:off x="6934003" y="5558359"/>
              <a:ext cx="629264" cy="193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extLst>
      <p:ext uri="{BB962C8B-B14F-4D97-AF65-F5344CB8AC3E}">
        <p14:creationId xmlns:p14="http://schemas.microsoft.com/office/powerpoint/2010/main" val="1661277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03D03-6E13-5540-992D-A3DA00C38664}"/>
            </a:ext>
          </a:extLst>
        </p:cNvPr>
        <p:cNvGrpSpPr/>
        <p:nvPr/>
      </p:nvGrpSpPr>
      <p:grpSpPr>
        <a:xfrm>
          <a:off x="0" y="0"/>
          <a:ext cx="0" cy="0"/>
          <a:chOff x="0" y="0"/>
          <a:chExt cx="0" cy="0"/>
        </a:xfrm>
      </p:grpSpPr>
      <p:pic>
        <p:nvPicPr>
          <p:cNvPr id="63" name="Picture 62">
            <a:extLst>
              <a:ext uri="{FF2B5EF4-FFF2-40B4-BE49-F238E27FC236}">
                <a16:creationId xmlns:a16="http://schemas.microsoft.com/office/drawing/2014/main" id="{3882B473-D8B1-1ABD-63CB-9B9B58F47914}"/>
              </a:ext>
            </a:extLst>
          </p:cNvPr>
          <p:cNvPicPr>
            <a:picLocks noChangeAspect="1"/>
          </p:cNvPicPr>
          <p:nvPr/>
        </p:nvPicPr>
        <p:blipFill>
          <a:blip r:embed="rId2"/>
          <a:stretch>
            <a:fillRect/>
          </a:stretch>
        </p:blipFill>
        <p:spPr>
          <a:xfrm>
            <a:off x="1145281" y="1154190"/>
            <a:ext cx="9807653" cy="4837609"/>
          </a:xfrm>
          <a:prstGeom prst="rect">
            <a:avLst/>
          </a:prstGeom>
        </p:spPr>
      </p:pic>
      <p:sp>
        <p:nvSpPr>
          <p:cNvPr id="4" name="CuadroTexto 3">
            <a:extLst>
              <a:ext uri="{FF2B5EF4-FFF2-40B4-BE49-F238E27FC236}">
                <a16:creationId xmlns:a16="http://schemas.microsoft.com/office/drawing/2014/main" id="{20F51D47-0821-D427-3CD3-E0417539413A}"/>
              </a:ext>
            </a:extLst>
          </p:cNvPr>
          <p:cNvSpPr txBox="1"/>
          <p:nvPr/>
        </p:nvSpPr>
        <p:spPr>
          <a:xfrm>
            <a:off x="1352716" y="3036999"/>
            <a:ext cx="503480" cy="307777"/>
          </a:xfrm>
          <a:prstGeom prst="rect">
            <a:avLst/>
          </a:prstGeom>
          <a:noFill/>
        </p:spPr>
        <p:txBody>
          <a:bodyPr wrap="square">
            <a:spAutoFit/>
          </a:bodyPr>
          <a:lstStyle/>
          <a:p>
            <a:r>
              <a:rPr lang="es-ES" sz="1400">
                <a:solidFill>
                  <a:srgbClr val="FFFFFF"/>
                </a:solidFill>
                <a:latin typeface="Arial Narrow" panose="020B0606020202030204" pitchFamily="34" charset="0"/>
              </a:rPr>
              <a:t>USA</a:t>
            </a:r>
            <a:endParaRPr lang="es-ES" sz="900">
              <a:solidFill>
                <a:srgbClr val="FFFFFF"/>
              </a:solidFill>
              <a:latin typeface="Arial Narrow" panose="020B0606020202030204" pitchFamily="34" charset="0"/>
            </a:endParaRPr>
          </a:p>
        </p:txBody>
      </p:sp>
      <p:sp>
        <p:nvSpPr>
          <p:cNvPr id="5" name="CuadroTexto 4">
            <a:extLst>
              <a:ext uri="{FF2B5EF4-FFF2-40B4-BE49-F238E27FC236}">
                <a16:creationId xmlns:a16="http://schemas.microsoft.com/office/drawing/2014/main" id="{B7418282-6D44-E895-857E-5E212E33B8E8}"/>
              </a:ext>
            </a:extLst>
          </p:cNvPr>
          <p:cNvSpPr txBox="1"/>
          <p:nvPr/>
        </p:nvSpPr>
        <p:spPr>
          <a:xfrm>
            <a:off x="4539488" y="2625534"/>
            <a:ext cx="682124" cy="446276"/>
          </a:xfrm>
          <a:prstGeom prst="rect">
            <a:avLst/>
          </a:prstGeom>
          <a:noFill/>
        </p:spPr>
        <p:txBody>
          <a:bodyPr wrap="square">
            <a:spAutoFit/>
          </a:bodyPr>
          <a:lstStyle/>
          <a:p>
            <a:r>
              <a:rPr lang="es-ES" sz="1400">
                <a:solidFill>
                  <a:srgbClr val="FFFFFF"/>
                </a:solidFill>
                <a:latin typeface="Arial Narrow" panose="020B0606020202030204" pitchFamily="34" charset="0"/>
              </a:rPr>
              <a:t>SPAIN</a:t>
            </a:r>
            <a:endParaRPr lang="es-ES" sz="900">
              <a:solidFill>
                <a:srgbClr val="FFFFFF"/>
              </a:solidFill>
              <a:latin typeface="Arial Narrow" panose="020B0606020202030204" pitchFamily="34" charset="0"/>
            </a:endParaRPr>
          </a:p>
          <a:p>
            <a:endParaRPr lang="es-ES" sz="900">
              <a:solidFill>
                <a:prstClr val="white"/>
              </a:solidFill>
              <a:latin typeface="Arial Narrow" panose="020B0606020202030204" pitchFamily="34" charset="0"/>
            </a:endParaRPr>
          </a:p>
        </p:txBody>
      </p:sp>
      <p:cxnSp>
        <p:nvCxnSpPr>
          <p:cNvPr id="260" name="Conector recto 259">
            <a:extLst>
              <a:ext uri="{FF2B5EF4-FFF2-40B4-BE49-F238E27FC236}">
                <a16:creationId xmlns:a16="http://schemas.microsoft.com/office/drawing/2014/main" id="{F4098516-741A-9CBE-1B63-8DB938B2669D}"/>
              </a:ext>
            </a:extLst>
          </p:cNvPr>
          <p:cNvCxnSpPr>
            <a:cxnSpLocks/>
          </p:cNvCxnSpPr>
          <p:nvPr/>
        </p:nvCxnSpPr>
        <p:spPr>
          <a:xfrm flipH="1" flipV="1">
            <a:off x="5154890" y="2816681"/>
            <a:ext cx="290189" cy="191699"/>
          </a:xfrm>
          <a:prstGeom prst="line">
            <a:avLst/>
          </a:prstGeom>
          <a:noFill/>
          <a:ln w="9525" cap="flat" cmpd="sng" algn="ctr">
            <a:solidFill>
              <a:sysClr val="window" lastClr="FFFFFF"/>
            </a:solidFill>
            <a:prstDash val="solid"/>
            <a:miter lim="800000"/>
          </a:ln>
          <a:effectLst/>
        </p:spPr>
      </p:cxnSp>
      <p:cxnSp>
        <p:nvCxnSpPr>
          <p:cNvPr id="261" name="Conector recto 260">
            <a:extLst>
              <a:ext uri="{FF2B5EF4-FFF2-40B4-BE49-F238E27FC236}">
                <a16:creationId xmlns:a16="http://schemas.microsoft.com/office/drawing/2014/main" id="{131C39A9-FDB8-A7AD-2727-A2415F2DC183}"/>
              </a:ext>
            </a:extLst>
          </p:cNvPr>
          <p:cNvCxnSpPr>
            <a:cxnSpLocks/>
          </p:cNvCxnSpPr>
          <p:nvPr/>
        </p:nvCxnSpPr>
        <p:spPr>
          <a:xfrm flipH="1" flipV="1">
            <a:off x="1867635" y="3198709"/>
            <a:ext cx="345594" cy="6454"/>
          </a:xfrm>
          <a:prstGeom prst="line">
            <a:avLst/>
          </a:prstGeom>
          <a:noFill/>
          <a:ln w="9525" cap="flat" cmpd="sng" algn="ctr">
            <a:solidFill>
              <a:sysClr val="window" lastClr="FFFFFF"/>
            </a:solidFill>
            <a:prstDash val="solid"/>
            <a:miter lim="800000"/>
          </a:ln>
          <a:effectLst/>
        </p:spPr>
      </p:cxnSp>
      <p:sp>
        <p:nvSpPr>
          <p:cNvPr id="16" name="CuadroTexto 3">
            <a:extLst>
              <a:ext uri="{FF2B5EF4-FFF2-40B4-BE49-F238E27FC236}">
                <a16:creationId xmlns:a16="http://schemas.microsoft.com/office/drawing/2014/main" id="{4C75C46A-A74E-9F4A-122C-127CAF171F44}"/>
              </a:ext>
            </a:extLst>
          </p:cNvPr>
          <p:cNvSpPr txBox="1"/>
          <p:nvPr/>
        </p:nvSpPr>
        <p:spPr>
          <a:xfrm>
            <a:off x="1537768" y="3666779"/>
            <a:ext cx="784091" cy="307777"/>
          </a:xfrm>
          <a:prstGeom prst="rect">
            <a:avLst/>
          </a:prstGeom>
          <a:noFill/>
        </p:spPr>
        <p:txBody>
          <a:bodyPr wrap="square">
            <a:spAutoFit/>
          </a:bodyPr>
          <a:lstStyle/>
          <a:p>
            <a:r>
              <a:rPr lang="es-ES" sz="1400">
                <a:solidFill>
                  <a:srgbClr val="FFFFFF"/>
                </a:solidFill>
                <a:latin typeface="Arial Narrow" panose="020B0606020202030204" pitchFamily="34" charset="0"/>
              </a:rPr>
              <a:t>MÉXICO</a:t>
            </a:r>
          </a:p>
        </p:txBody>
      </p:sp>
      <p:cxnSp>
        <p:nvCxnSpPr>
          <p:cNvPr id="17" name="Conector recto 260">
            <a:extLst>
              <a:ext uri="{FF2B5EF4-FFF2-40B4-BE49-F238E27FC236}">
                <a16:creationId xmlns:a16="http://schemas.microsoft.com/office/drawing/2014/main" id="{A1BCBC73-9282-A408-A05E-54917C457088}"/>
              </a:ext>
            </a:extLst>
          </p:cNvPr>
          <p:cNvCxnSpPr>
            <a:cxnSpLocks/>
          </p:cNvCxnSpPr>
          <p:nvPr/>
        </p:nvCxnSpPr>
        <p:spPr>
          <a:xfrm flipH="1">
            <a:off x="2321859" y="3816186"/>
            <a:ext cx="413519" cy="0"/>
          </a:xfrm>
          <a:prstGeom prst="line">
            <a:avLst/>
          </a:prstGeom>
          <a:noFill/>
          <a:ln w="9525" cap="flat" cmpd="sng" algn="ctr">
            <a:solidFill>
              <a:sysClr val="window" lastClr="FFFFFF"/>
            </a:solidFill>
            <a:prstDash val="solid"/>
            <a:miter lim="800000"/>
          </a:ln>
          <a:effectLst/>
        </p:spPr>
      </p:cxnSp>
      <p:sp>
        <p:nvSpPr>
          <p:cNvPr id="20" name="CuadroTexto 4">
            <a:extLst>
              <a:ext uri="{FF2B5EF4-FFF2-40B4-BE49-F238E27FC236}">
                <a16:creationId xmlns:a16="http://schemas.microsoft.com/office/drawing/2014/main" id="{E3279606-7F04-1FF2-4E36-F9AC8485FF48}"/>
              </a:ext>
            </a:extLst>
          </p:cNvPr>
          <p:cNvSpPr txBox="1"/>
          <p:nvPr/>
        </p:nvSpPr>
        <p:spPr>
          <a:xfrm>
            <a:off x="5509840" y="1779516"/>
            <a:ext cx="486168" cy="446276"/>
          </a:xfrm>
          <a:prstGeom prst="rect">
            <a:avLst/>
          </a:prstGeom>
          <a:noFill/>
        </p:spPr>
        <p:txBody>
          <a:bodyPr wrap="square">
            <a:spAutoFit/>
          </a:bodyPr>
          <a:lstStyle/>
          <a:p>
            <a:r>
              <a:rPr lang="es-ES" sz="1400">
                <a:solidFill>
                  <a:srgbClr val="FFFFFF"/>
                </a:solidFill>
                <a:latin typeface="Arial Narrow" panose="020B0606020202030204" pitchFamily="34" charset="0"/>
              </a:rPr>
              <a:t>UK</a:t>
            </a:r>
            <a:endParaRPr lang="es-ES" sz="900">
              <a:solidFill>
                <a:srgbClr val="FFFFFF"/>
              </a:solidFill>
              <a:latin typeface="Arial Narrow" panose="020B0606020202030204" pitchFamily="34" charset="0"/>
            </a:endParaRPr>
          </a:p>
          <a:p>
            <a:endParaRPr lang="es-ES" sz="900">
              <a:solidFill>
                <a:prstClr val="white"/>
              </a:solidFill>
              <a:latin typeface="Graphik" panose="020B0503030202060203" pitchFamily="34" charset="77"/>
            </a:endParaRPr>
          </a:p>
        </p:txBody>
      </p:sp>
      <p:cxnSp>
        <p:nvCxnSpPr>
          <p:cNvPr id="57" name="Conector recto 259">
            <a:extLst>
              <a:ext uri="{FF2B5EF4-FFF2-40B4-BE49-F238E27FC236}">
                <a16:creationId xmlns:a16="http://schemas.microsoft.com/office/drawing/2014/main" id="{3B86B5BD-1C9F-AD76-60E6-B3FAA3D75270}"/>
              </a:ext>
            </a:extLst>
          </p:cNvPr>
          <p:cNvCxnSpPr>
            <a:cxnSpLocks/>
          </p:cNvCxnSpPr>
          <p:nvPr/>
        </p:nvCxnSpPr>
        <p:spPr>
          <a:xfrm flipV="1">
            <a:off x="5706567" y="2119103"/>
            <a:ext cx="0" cy="256943"/>
          </a:xfrm>
          <a:prstGeom prst="line">
            <a:avLst/>
          </a:prstGeom>
          <a:noFill/>
          <a:ln w="9525" cap="flat" cmpd="sng" algn="ctr">
            <a:solidFill>
              <a:sysClr val="window" lastClr="FFFFFF"/>
            </a:solidFill>
            <a:prstDash val="solid"/>
            <a:miter lim="800000"/>
          </a:ln>
          <a:effectLst/>
        </p:spPr>
      </p:cxnSp>
      <p:sp>
        <p:nvSpPr>
          <p:cNvPr id="61" name="CuadroTexto 4">
            <a:extLst>
              <a:ext uri="{FF2B5EF4-FFF2-40B4-BE49-F238E27FC236}">
                <a16:creationId xmlns:a16="http://schemas.microsoft.com/office/drawing/2014/main" id="{DA11FE5E-1E68-81FC-6ECA-32B679B9653C}"/>
              </a:ext>
            </a:extLst>
          </p:cNvPr>
          <p:cNvSpPr txBox="1"/>
          <p:nvPr/>
        </p:nvSpPr>
        <p:spPr>
          <a:xfrm>
            <a:off x="7630488" y="4520576"/>
            <a:ext cx="671287" cy="446276"/>
          </a:xfrm>
          <a:prstGeom prst="rect">
            <a:avLst/>
          </a:prstGeom>
          <a:noFill/>
        </p:spPr>
        <p:txBody>
          <a:bodyPr wrap="square">
            <a:spAutoFit/>
          </a:bodyPr>
          <a:lstStyle/>
          <a:p>
            <a:r>
              <a:rPr lang="es-ES" sz="1400">
                <a:solidFill>
                  <a:srgbClr val="FFFFFF"/>
                </a:solidFill>
                <a:latin typeface="Arial Narrow" panose="020B0606020202030204" pitchFamily="34" charset="0"/>
              </a:rPr>
              <a:t>INDIA</a:t>
            </a:r>
            <a:endParaRPr lang="es-ES" sz="900">
              <a:solidFill>
                <a:srgbClr val="FFFFFF"/>
              </a:solidFill>
              <a:latin typeface="Arial Narrow" panose="020B0606020202030204" pitchFamily="34" charset="0"/>
            </a:endParaRPr>
          </a:p>
          <a:p>
            <a:endParaRPr lang="es-ES" sz="900">
              <a:solidFill>
                <a:prstClr val="white"/>
              </a:solidFill>
              <a:latin typeface="Arial Narrow" panose="020B0606020202030204" pitchFamily="34" charset="0"/>
            </a:endParaRPr>
          </a:p>
        </p:txBody>
      </p:sp>
      <p:cxnSp>
        <p:nvCxnSpPr>
          <p:cNvPr id="62" name="Conector recto 259">
            <a:extLst>
              <a:ext uri="{FF2B5EF4-FFF2-40B4-BE49-F238E27FC236}">
                <a16:creationId xmlns:a16="http://schemas.microsoft.com/office/drawing/2014/main" id="{7D47255F-4E21-3E73-BBB8-AC78FC954532}"/>
              </a:ext>
            </a:extLst>
          </p:cNvPr>
          <p:cNvCxnSpPr>
            <a:cxnSpLocks/>
          </p:cNvCxnSpPr>
          <p:nvPr/>
        </p:nvCxnSpPr>
        <p:spPr>
          <a:xfrm flipV="1">
            <a:off x="7925660" y="4195616"/>
            <a:ext cx="0" cy="256943"/>
          </a:xfrm>
          <a:prstGeom prst="line">
            <a:avLst/>
          </a:prstGeom>
          <a:noFill/>
          <a:ln w="9525" cap="flat" cmpd="sng" algn="ctr">
            <a:solidFill>
              <a:sysClr val="window" lastClr="FFFFFF"/>
            </a:solidFill>
            <a:prstDash val="solid"/>
            <a:miter lim="800000"/>
          </a:ln>
          <a:effectLst/>
        </p:spPr>
      </p:cxnSp>
      <p:cxnSp>
        <p:nvCxnSpPr>
          <p:cNvPr id="65" name="Conector recto 259">
            <a:extLst>
              <a:ext uri="{FF2B5EF4-FFF2-40B4-BE49-F238E27FC236}">
                <a16:creationId xmlns:a16="http://schemas.microsoft.com/office/drawing/2014/main" id="{50699452-6487-70C8-B0FC-882636F40B63}"/>
              </a:ext>
            </a:extLst>
          </p:cNvPr>
          <p:cNvCxnSpPr>
            <a:cxnSpLocks/>
          </p:cNvCxnSpPr>
          <p:nvPr/>
        </p:nvCxnSpPr>
        <p:spPr>
          <a:xfrm flipV="1">
            <a:off x="6237790" y="3300528"/>
            <a:ext cx="0" cy="256943"/>
          </a:xfrm>
          <a:prstGeom prst="line">
            <a:avLst/>
          </a:prstGeom>
          <a:noFill/>
          <a:ln w="9525" cap="flat" cmpd="sng" algn="ctr">
            <a:solidFill>
              <a:sysClr val="window" lastClr="FFFFFF"/>
            </a:solidFill>
            <a:prstDash val="solid"/>
            <a:miter lim="800000"/>
          </a:ln>
          <a:effectLst/>
        </p:spPr>
      </p:cxnSp>
      <p:sp>
        <p:nvSpPr>
          <p:cNvPr id="66" name="CuadroTexto 4">
            <a:extLst>
              <a:ext uri="{FF2B5EF4-FFF2-40B4-BE49-F238E27FC236}">
                <a16:creationId xmlns:a16="http://schemas.microsoft.com/office/drawing/2014/main" id="{F7C615BB-6663-4126-1C15-8D314EEE6D65}"/>
              </a:ext>
            </a:extLst>
          </p:cNvPr>
          <p:cNvSpPr txBox="1"/>
          <p:nvPr/>
        </p:nvSpPr>
        <p:spPr>
          <a:xfrm>
            <a:off x="5866249" y="3572994"/>
            <a:ext cx="752253" cy="446276"/>
          </a:xfrm>
          <a:prstGeom prst="rect">
            <a:avLst/>
          </a:prstGeom>
          <a:noFill/>
        </p:spPr>
        <p:txBody>
          <a:bodyPr wrap="square">
            <a:spAutoFit/>
          </a:bodyPr>
          <a:lstStyle/>
          <a:p>
            <a:r>
              <a:rPr lang="es-ES" sz="1400">
                <a:solidFill>
                  <a:srgbClr val="FFFFFF"/>
                </a:solidFill>
                <a:latin typeface="Arial Narrow" panose="020B0606020202030204" pitchFamily="34" charset="0"/>
              </a:rPr>
              <a:t>MALTA</a:t>
            </a:r>
            <a:endParaRPr lang="es-ES" sz="900">
              <a:solidFill>
                <a:srgbClr val="FFFFFF"/>
              </a:solidFill>
              <a:latin typeface="Arial Narrow" panose="020B0606020202030204" pitchFamily="34" charset="0"/>
            </a:endParaRPr>
          </a:p>
          <a:p>
            <a:endParaRPr lang="es-ES" sz="900">
              <a:solidFill>
                <a:prstClr val="white"/>
              </a:solidFill>
              <a:latin typeface="Arial Narrow" panose="020B0606020202030204" pitchFamily="34" charset="0"/>
            </a:endParaRPr>
          </a:p>
        </p:txBody>
      </p:sp>
    </p:spTree>
    <p:extLst>
      <p:ext uri="{BB962C8B-B14F-4D97-AF65-F5344CB8AC3E}">
        <p14:creationId xmlns:p14="http://schemas.microsoft.com/office/powerpoint/2010/main" val="3196329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B7A6C679-5056-5516-F80D-70D5453633E3}"/>
              </a:ext>
            </a:extLst>
          </p:cNvPr>
          <p:cNvSpPr>
            <a:spLocks noGrp="1"/>
          </p:cNvSpPr>
          <p:nvPr>
            <p:ph type="ftr" sz="quarter" idx="11"/>
          </p:nvPr>
        </p:nvSpPr>
        <p:spPr/>
        <p:txBody>
          <a:bodyPr/>
          <a:lstStyle/>
          <a:p>
            <a:r>
              <a:rPr lang="es-ES"/>
              <a:t>Proprietary Information - Confidential</a:t>
            </a:r>
          </a:p>
        </p:txBody>
      </p:sp>
      <p:sp>
        <p:nvSpPr>
          <p:cNvPr id="3" name="Marcador de número de diapositiva 2">
            <a:extLst>
              <a:ext uri="{FF2B5EF4-FFF2-40B4-BE49-F238E27FC236}">
                <a16:creationId xmlns:a16="http://schemas.microsoft.com/office/drawing/2014/main" id="{6E4BA407-B3C0-E4F3-09B6-F2FB21CB6970}"/>
              </a:ext>
            </a:extLst>
          </p:cNvPr>
          <p:cNvSpPr>
            <a:spLocks noGrp="1"/>
          </p:cNvSpPr>
          <p:nvPr>
            <p:ph type="sldNum" sz="quarter" idx="12"/>
          </p:nvPr>
        </p:nvSpPr>
        <p:spPr/>
        <p:txBody>
          <a:bodyPr/>
          <a:lstStyle/>
          <a:p>
            <a:fld id="{FF2CED2D-DE01-CB40-AEF5-C9DD7CD06225}" type="slidenum">
              <a:rPr lang="es-ES" smtClean="0"/>
              <a:t>6</a:t>
            </a:fld>
            <a:endParaRPr lang="es-ES"/>
          </a:p>
        </p:txBody>
      </p:sp>
      <p:sp>
        <p:nvSpPr>
          <p:cNvPr id="4" name="Marcador de texto 3">
            <a:extLst>
              <a:ext uri="{FF2B5EF4-FFF2-40B4-BE49-F238E27FC236}">
                <a16:creationId xmlns:a16="http://schemas.microsoft.com/office/drawing/2014/main" id="{78A7D6B9-91D4-F3F5-9265-9E708494D1B9}"/>
              </a:ext>
            </a:extLst>
          </p:cNvPr>
          <p:cNvSpPr>
            <a:spLocks noGrp="1"/>
          </p:cNvSpPr>
          <p:nvPr>
            <p:ph type="body" sz="quarter" idx="25"/>
          </p:nvPr>
        </p:nvSpPr>
        <p:spPr/>
        <p:txBody>
          <a:bodyPr/>
          <a:lstStyle/>
          <a:p>
            <a:r>
              <a:rPr lang="es-ES" dirty="0"/>
              <a:t>El Reto de los Datos </a:t>
            </a:r>
            <a:endParaRPr lang="en-GB" dirty="0"/>
          </a:p>
        </p:txBody>
      </p:sp>
      <p:sp>
        <p:nvSpPr>
          <p:cNvPr id="12" name="Rectángulo redondeado 11"/>
          <p:cNvSpPr/>
          <p:nvPr/>
        </p:nvSpPr>
        <p:spPr>
          <a:xfrm>
            <a:off x="608646" y="1221409"/>
            <a:ext cx="4947135" cy="2166049"/>
          </a:xfrm>
          <a:prstGeom prst="roundRect">
            <a:avLst/>
          </a:prstGeom>
          <a:ln w="57150"/>
        </p:spPr>
        <p:style>
          <a:lnRef idx="2">
            <a:schemeClr val="accent6"/>
          </a:lnRef>
          <a:fillRef idx="1">
            <a:schemeClr val="lt1"/>
          </a:fillRef>
          <a:effectRef idx="0">
            <a:schemeClr val="accent6"/>
          </a:effectRef>
          <a:fontRef idx="minor">
            <a:schemeClr val="dk1"/>
          </a:fontRef>
        </p:style>
        <p:txBody>
          <a:bodyPr rtlCol="0" anchor="ctr"/>
          <a:lstStyle/>
          <a:p>
            <a:pPr algn="ctr"/>
            <a:endParaRPr lang="es-ES" dirty="0" smtClean="0"/>
          </a:p>
          <a:p>
            <a:pPr algn="ctr"/>
            <a:endParaRPr lang="es-ES" dirty="0"/>
          </a:p>
        </p:txBody>
      </p:sp>
      <p:sp>
        <p:nvSpPr>
          <p:cNvPr id="13" name="CuadroTexto 12"/>
          <p:cNvSpPr txBox="1"/>
          <p:nvPr/>
        </p:nvSpPr>
        <p:spPr>
          <a:xfrm flipH="1">
            <a:off x="1878197" y="1751607"/>
            <a:ext cx="3512835" cy="1415772"/>
          </a:xfrm>
          <a:prstGeom prst="rect">
            <a:avLst/>
          </a:prstGeom>
          <a:noFill/>
        </p:spPr>
        <p:txBody>
          <a:bodyPr wrap="square" rtlCol="0">
            <a:spAutoFit/>
          </a:bodyPr>
          <a:lstStyle/>
          <a:p>
            <a:endParaRPr lang="es-ES" b="1" dirty="0">
              <a:solidFill>
                <a:schemeClr val="accent6">
                  <a:lumMod val="50000"/>
                </a:schemeClr>
              </a:solidFill>
            </a:endParaRPr>
          </a:p>
          <a:p>
            <a:pPr algn="just"/>
            <a:r>
              <a:rPr lang="es-ES" sz="1600" dirty="0" smtClean="0"/>
              <a:t>Crecimiento limitado debido a la complejidad del proceso.</a:t>
            </a:r>
          </a:p>
          <a:p>
            <a:pPr algn="just"/>
            <a:endParaRPr lang="es-ES" b="1" dirty="0">
              <a:solidFill>
                <a:schemeClr val="accent6">
                  <a:lumMod val="50000"/>
                </a:schemeClr>
              </a:solidFill>
            </a:endParaRPr>
          </a:p>
          <a:p>
            <a:pPr algn="just"/>
            <a:r>
              <a:rPr lang="es-ES" sz="1600" dirty="0" smtClean="0"/>
              <a:t>Inicio:108 </a:t>
            </a:r>
            <a:r>
              <a:rPr lang="es-ES" sz="1600" dirty="0" smtClean="0">
                <a:sym typeface="Wingdings" panose="05000000000000000000" pitchFamily="2" charset="2"/>
              </a:rPr>
              <a:t> Actualidad: 281 datos</a:t>
            </a:r>
            <a:r>
              <a:rPr lang="es-ES" dirty="0" smtClean="0">
                <a:sym typeface="Wingdings" panose="05000000000000000000" pitchFamily="2" charset="2"/>
              </a:rPr>
              <a:t>.</a:t>
            </a:r>
            <a:endParaRPr lang="es-ES" dirty="0"/>
          </a:p>
        </p:txBody>
      </p:sp>
      <p:sp>
        <p:nvSpPr>
          <p:cNvPr id="14" name="Rectángulo 13"/>
          <p:cNvSpPr/>
          <p:nvPr/>
        </p:nvSpPr>
        <p:spPr>
          <a:xfrm>
            <a:off x="1878197" y="1379616"/>
            <a:ext cx="2852063" cy="461665"/>
          </a:xfrm>
          <a:prstGeom prst="rect">
            <a:avLst/>
          </a:prstGeom>
        </p:spPr>
        <p:txBody>
          <a:bodyPr wrap="none">
            <a:spAutoFit/>
          </a:bodyPr>
          <a:lstStyle/>
          <a:p>
            <a:r>
              <a:rPr lang="es-ES" sz="2400" b="1" dirty="0" smtClean="0">
                <a:solidFill>
                  <a:srgbClr val="00B050"/>
                </a:solidFill>
              </a:rPr>
              <a:t>Evolución </a:t>
            </a:r>
            <a:r>
              <a:rPr lang="es-ES" sz="2400" b="1" dirty="0" err="1" smtClean="0">
                <a:solidFill>
                  <a:srgbClr val="00B050"/>
                </a:solidFill>
              </a:rPr>
              <a:t>Dataset</a:t>
            </a:r>
            <a:endParaRPr lang="es-ES" sz="2400" b="1" dirty="0">
              <a:solidFill>
                <a:srgbClr val="00B050"/>
              </a:solidFill>
            </a:endParaRPr>
          </a:p>
        </p:txBody>
      </p:sp>
      <p:sp>
        <p:nvSpPr>
          <p:cNvPr id="15" name="Rectángulo redondeado 14"/>
          <p:cNvSpPr/>
          <p:nvPr/>
        </p:nvSpPr>
        <p:spPr>
          <a:xfrm>
            <a:off x="6377530" y="1170340"/>
            <a:ext cx="4947135" cy="2166049"/>
          </a:xfrm>
          <a:prstGeom prst="roundRect">
            <a:avLst/>
          </a:prstGeom>
          <a:ln w="57150">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dirty="0" smtClean="0">
              <a:solidFill>
                <a:srgbClr val="FF0000"/>
              </a:solidFill>
            </a:endParaRPr>
          </a:p>
          <a:p>
            <a:pPr algn="ctr"/>
            <a:endParaRPr lang="es-ES" dirty="0">
              <a:solidFill>
                <a:srgbClr val="FF0000"/>
              </a:solidFill>
            </a:endParaRPr>
          </a:p>
        </p:txBody>
      </p:sp>
      <p:sp>
        <p:nvSpPr>
          <p:cNvPr id="16" name="Rectángulo redondeado 15"/>
          <p:cNvSpPr/>
          <p:nvPr/>
        </p:nvSpPr>
        <p:spPr>
          <a:xfrm>
            <a:off x="425982" y="3751299"/>
            <a:ext cx="5348571" cy="2229164"/>
          </a:xfrm>
          <a:prstGeom prst="roundRect">
            <a:avLst/>
          </a:prstGeom>
          <a:ln w="57150">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just"/>
            <a:endParaRPr lang="es-ES" sz="1600" dirty="0"/>
          </a:p>
        </p:txBody>
      </p:sp>
      <p:sp>
        <p:nvSpPr>
          <p:cNvPr id="17" name="Rectángulo redondeado 16"/>
          <p:cNvSpPr/>
          <p:nvPr/>
        </p:nvSpPr>
        <p:spPr>
          <a:xfrm>
            <a:off x="6519646" y="3814414"/>
            <a:ext cx="4947135" cy="2166049"/>
          </a:xfrm>
          <a:prstGeom prst="roundRect">
            <a:avLst/>
          </a:prstGeom>
          <a:ln w="57150">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dirty="0" smtClean="0"/>
          </a:p>
          <a:p>
            <a:pPr algn="ctr"/>
            <a:endParaRPr lang="es-ES" dirty="0"/>
          </a:p>
        </p:txBody>
      </p:sp>
      <p:sp>
        <p:nvSpPr>
          <p:cNvPr id="19" name="Rectángulo 18"/>
          <p:cNvSpPr/>
          <p:nvPr/>
        </p:nvSpPr>
        <p:spPr>
          <a:xfrm>
            <a:off x="7856527" y="1368640"/>
            <a:ext cx="3105337" cy="461665"/>
          </a:xfrm>
          <a:prstGeom prst="rect">
            <a:avLst/>
          </a:prstGeom>
        </p:spPr>
        <p:txBody>
          <a:bodyPr wrap="none">
            <a:spAutoFit/>
          </a:bodyPr>
          <a:lstStyle/>
          <a:p>
            <a:r>
              <a:rPr lang="es-ES" sz="2400" b="1" dirty="0" smtClean="0">
                <a:solidFill>
                  <a:srgbClr val="FF0000"/>
                </a:solidFill>
              </a:rPr>
              <a:t>Limitación Principal</a:t>
            </a:r>
            <a:endParaRPr lang="es-ES" sz="2400" b="1" dirty="0">
              <a:solidFill>
                <a:srgbClr val="FF0000"/>
              </a:solidFill>
            </a:endParaRPr>
          </a:p>
        </p:txBody>
      </p:sp>
      <p:sp>
        <p:nvSpPr>
          <p:cNvPr id="20" name="CuadroTexto 19"/>
          <p:cNvSpPr txBox="1"/>
          <p:nvPr/>
        </p:nvSpPr>
        <p:spPr>
          <a:xfrm>
            <a:off x="7856527" y="1908506"/>
            <a:ext cx="3461946" cy="1077218"/>
          </a:xfrm>
          <a:prstGeom prst="rect">
            <a:avLst/>
          </a:prstGeom>
          <a:noFill/>
        </p:spPr>
        <p:txBody>
          <a:bodyPr wrap="square" rtlCol="0">
            <a:spAutoFit/>
          </a:bodyPr>
          <a:lstStyle/>
          <a:p>
            <a:pPr algn="just"/>
            <a:r>
              <a:rPr lang="es-ES" sz="1600" dirty="0"/>
              <a:t>La extracción de datos es  </a:t>
            </a:r>
            <a:r>
              <a:rPr lang="es-ES" sz="1600" b="1" dirty="0"/>
              <a:t>manual y destructiva</a:t>
            </a:r>
            <a:r>
              <a:rPr lang="es-ES" sz="1600" dirty="0"/>
              <a:t>. Esto crea un cuello de botella físico que no puede resolverse solo con software.</a:t>
            </a:r>
            <a:endParaRPr lang="es-ES" sz="1600" dirty="0"/>
          </a:p>
        </p:txBody>
      </p:sp>
      <p:sp>
        <p:nvSpPr>
          <p:cNvPr id="21" name="Rectángulo 20"/>
          <p:cNvSpPr/>
          <p:nvPr/>
        </p:nvSpPr>
        <p:spPr>
          <a:xfrm>
            <a:off x="1146418" y="3917656"/>
            <a:ext cx="4578497" cy="430887"/>
          </a:xfrm>
          <a:prstGeom prst="rect">
            <a:avLst/>
          </a:prstGeom>
        </p:spPr>
        <p:txBody>
          <a:bodyPr wrap="none">
            <a:spAutoFit/>
          </a:bodyPr>
          <a:lstStyle/>
          <a:p>
            <a:r>
              <a:rPr lang="es-ES" sz="2200" b="1" dirty="0">
                <a:solidFill>
                  <a:srgbClr val="FFC000"/>
                </a:solidFill>
                <a:latin typeface="Inter"/>
              </a:rPr>
              <a:t>El Problema de "Casos Difíciles"</a:t>
            </a:r>
            <a:endParaRPr lang="es-ES" sz="2200" b="1" i="0" dirty="0">
              <a:solidFill>
                <a:srgbClr val="FFC000"/>
              </a:solidFill>
              <a:effectLst/>
              <a:latin typeface="Inter"/>
            </a:endParaRPr>
          </a:p>
        </p:txBody>
      </p:sp>
      <p:sp>
        <p:nvSpPr>
          <p:cNvPr id="22" name="CuadroTexto 21"/>
          <p:cNvSpPr txBox="1"/>
          <p:nvPr/>
        </p:nvSpPr>
        <p:spPr>
          <a:xfrm>
            <a:off x="1146418" y="4414080"/>
            <a:ext cx="4427914" cy="1354217"/>
          </a:xfrm>
          <a:prstGeom prst="rect">
            <a:avLst/>
          </a:prstGeom>
          <a:noFill/>
        </p:spPr>
        <p:txBody>
          <a:bodyPr wrap="square" rtlCol="0">
            <a:spAutoFit/>
          </a:bodyPr>
          <a:lstStyle/>
          <a:p>
            <a:pPr algn="just"/>
            <a:r>
              <a:rPr lang="es-ES" sz="1600" dirty="0"/>
              <a:t>Se requiere parametrización manual para generar fallos controlados ("malos por poco").</a:t>
            </a:r>
            <a:br>
              <a:rPr lang="es-ES" sz="1600" dirty="0"/>
            </a:br>
            <a:r>
              <a:rPr lang="es-ES" sz="1600" i="1" dirty="0"/>
              <a:t>Objetivo:</a:t>
            </a:r>
            <a:r>
              <a:rPr lang="es-ES" sz="1600" dirty="0"/>
              <a:t> Afinar el umbral de decisión del modelo en la frontera de clasificación.</a:t>
            </a:r>
          </a:p>
          <a:p>
            <a:endParaRPr lang="es-ES" dirty="0"/>
          </a:p>
        </p:txBody>
      </p:sp>
      <p:sp>
        <p:nvSpPr>
          <p:cNvPr id="23" name="Rectángulo 22"/>
          <p:cNvSpPr/>
          <p:nvPr/>
        </p:nvSpPr>
        <p:spPr>
          <a:xfrm>
            <a:off x="8282174" y="4029811"/>
            <a:ext cx="2610651" cy="461665"/>
          </a:xfrm>
          <a:prstGeom prst="rect">
            <a:avLst/>
          </a:prstGeom>
        </p:spPr>
        <p:txBody>
          <a:bodyPr wrap="none">
            <a:spAutoFit/>
          </a:bodyPr>
          <a:lstStyle/>
          <a:p>
            <a:r>
              <a:rPr lang="es-ES" sz="2400" b="1" dirty="0">
                <a:solidFill>
                  <a:srgbClr val="0070C0"/>
                </a:solidFill>
                <a:latin typeface="Inter"/>
              </a:rPr>
              <a:t>Validación Lenta</a:t>
            </a:r>
            <a:endParaRPr lang="es-ES" sz="2400" b="1" i="0" dirty="0">
              <a:solidFill>
                <a:srgbClr val="0070C0"/>
              </a:solidFill>
              <a:effectLst/>
              <a:latin typeface="Inter"/>
            </a:endParaRPr>
          </a:p>
        </p:txBody>
      </p:sp>
      <p:sp>
        <p:nvSpPr>
          <p:cNvPr id="24" name="CuadroTexto 23"/>
          <p:cNvSpPr txBox="1"/>
          <p:nvPr/>
        </p:nvSpPr>
        <p:spPr>
          <a:xfrm>
            <a:off x="7367255" y="4552580"/>
            <a:ext cx="4099526" cy="1077218"/>
          </a:xfrm>
          <a:prstGeom prst="rect">
            <a:avLst/>
          </a:prstGeom>
          <a:noFill/>
        </p:spPr>
        <p:txBody>
          <a:bodyPr wrap="square" rtlCol="0">
            <a:spAutoFit/>
          </a:bodyPr>
          <a:lstStyle/>
          <a:p>
            <a:pPr algn="just"/>
            <a:r>
              <a:rPr lang="es-ES" sz="1600" dirty="0"/>
              <a:t>La dependencia de ensayos destructivos (ej. </a:t>
            </a:r>
            <a:r>
              <a:rPr lang="es-ES" sz="1600" i="1" dirty="0"/>
              <a:t>desbotonado</a:t>
            </a:r>
            <a:r>
              <a:rPr lang="es-ES" sz="1600" dirty="0"/>
              <a:t>) impide la automatización completa de la captura y validación de nuevas muestras.</a:t>
            </a:r>
            <a:endParaRPr lang="es-ES" sz="1600" dirty="0"/>
          </a:p>
        </p:txBody>
      </p:sp>
      <p:pic>
        <p:nvPicPr>
          <p:cNvPr id="25" name="Imagen 24"/>
          <p:cNvPicPr>
            <a:picLocks noChangeAspect="1"/>
          </p:cNvPicPr>
          <p:nvPr/>
        </p:nvPicPr>
        <p:blipFill>
          <a:blip r:embed="rId2"/>
          <a:stretch>
            <a:fillRect/>
          </a:stretch>
        </p:blipFill>
        <p:spPr>
          <a:xfrm>
            <a:off x="812535" y="1675383"/>
            <a:ext cx="1091823" cy="839412"/>
          </a:xfrm>
          <a:prstGeom prst="rect">
            <a:avLst/>
          </a:prstGeom>
        </p:spPr>
      </p:pic>
      <p:pic>
        <p:nvPicPr>
          <p:cNvPr id="26" name="Imagen 25"/>
          <p:cNvPicPr>
            <a:picLocks noChangeAspect="1"/>
          </p:cNvPicPr>
          <p:nvPr/>
        </p:nvPicPr>
        <p:blipFill>
          <a:blip r:embed="rId3"/>
          <a:stretch>
            <a:fillRect/>
          </a:stretch>
        </p:blipFill>
        <p:spPr>
          <a:xfrm>
            <a:off x="6574201" y="1429156"/>
            <a:ext cx="1220525" cy="1142342"/>
          </a:xfrm>
          <a:prstGeom prst="rect">
            <a:avLst/>
          </a:prstGeom>
        </p:spPr>
      </p:pic>
      <p:pic>
        <p:nvPicPr>
          <p:cNvPr id="27" name="Imagen 26"/>
          <p:cNvPicPr>
            <a:picLocks noChangeAspect="1"/>
          </p:cNvPicPr>
          <p:nvPr/>
        </p:nvPicPr>
        <p:blipFill>
          <a:blip r:embed="rId4"/>
          <a:stretch>
            <a:fillRect/>
          </a:stretch>
        </p:blipFill>
        <p:spPr>
          <a:xfrm>
            <a:off x="6726893" y="4051401"/>
            <a:ext cx="602941" cy="972242"/>
          </a:xfrm>
          <a:prstGeom prst="rect">
            <a:avLst/>
          </a:prstGeom>
        </p:spPr>
      </p:pic>
      <p:pic>
        <p:nvPicPr>
          <p:cNvPr id="28" name="Imagen 27"/>
          <p:cNvPicPr>
            <a:picLocks noChangeAspect="1"/>
          </p:cNvPicPr>
          <p:nvPr/>
        </p:nvPicPr>
        <p:blipFill>
          <a:blip r:embed="rId5"/>
          <a:stretch>
            <a:fillRect/>
          </a:stretch>
        </p:blipFill>
        <p:spPr>
          <a:xfrm>
            <a:off x="555307" y="4051401"/>
            <a:ext cx="591111" cy="539711"/>
          </a:xfrm>
          <a:prstGeom prst="rect">
            <a:avLst/>
          </a:prstGeom>
        </p:spPr>
      </p:pic>
    </p:spTree>
    <p:extLst>
      <p:ext uri="{BB962C8B-B14F-4D97-AF65-F5344CB8AC3E}">
        <p14:creationId xmlns:p14="http://schemas.microsoft.com/office/powerpoint/2010/main" val="10519303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0CE36-7CC0-8773-176E-E4D22A02F750}"/>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14DA1EA8-9D96-77EB-8798-0D60531F8C5E}"/>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B87F679B-3686-4F34-1EC9-AB310501DA18}"/>
              </a:ext>
            </a:extLst>
          </p:cNvPr>
          <p:cNvSpPr>
            <a:spLocks noGrp="1"/>
          </p:cNvSpPr>
          <p:nvPr>
            <p:ph type="sldNum" sz="quarter" idx="12"/>
          </p:nvPr>
        </p:nvSpPr>
        <p:spPr/>
        <p:txBody>
          <a:bodyPr/>
          <a:lstStyle/>
          <a:p>
            <a:fld id="{FF2CED2D-DE01-CB40-AEF5-C9DD7CD06225}" type="slidenum">
              <a:rPr lang="es-ES" smtClean="0"/>
              <a:pPr/>
              <a:t>60</a:t>
            </a:fld>
            <a:endParaRPr lang="es-ES"/>
          </a:p>
        </p:txBody>
      </p:sp>
      <p:pic>
        <p:nvPicPr>
          <p:cNvPr id="6" name="Imagen 5">
            <a:extLst>
              <a:ext uri="{FF2B5EF4-FFF2-40B4-BE49-F238E27FC236}">
                <a16:creationId xmlns:a16="http://schemas.microsoft.com/office/drawing/2014/main" id="{2EEF2DE7-524C-B1D9-ED0A-476D3EC64784}"/>
              </a:ext>
            </a:extLst>
          </p:cNvPr>
          <p:cNvPicPr>
            <a:picLocks noChangeAspect="1"/>
          </p:cNvPicPr>
          <p:nvPr/>
        </p:nvPicPr>
        <p:blipFill>
          <a:blip r:embed="rId2"/>
          <a:stretch>
            <a:fillRect/>
          </a:stretch>
        </p:blipFill>
        <p:spPr>
          <a:xfrm>
            <a:off x="3361206" y="2568496"/>
            <a:ext cx="309608" cy="318714"/>
          </a:xfrm>
          <a:prstGeom prst="rect">
            <a:avLst/>
          </a:prstGeom>
        </p:spPr>
      </p:pic>
      <p:pic>
        <p:nvPicPr>
          <p:cNvPr id="7" name="Imagen 6">
            <a:extLst>
              <a:ext uri="{FF2B5EF4-FFF2-40B4-BE49-F238E27FC236}">
                <a16:creationId xmlns:a16="http://schemas.microsoft.com/office/drawing/2014/main" id="{04BBE84C-ACB2-256B-EA8F-77DB62F5BEB4}"/>
              </a:ext>
            </a:extLst>
          </p:cNvPr>
          <p:cNvPicPr>
            <a:picLocks noChangeAspect="1"/>
          </p:cNvPicPr>
          <p:nvPr/>
        </p:nvPicPr>
        <p:blipFill>
          <a:blip r:embed="rId3"/>
          <a:stretch>
            <a:fillRect/>
          </a:stretch>
        </p:blipFill>
        <p:spPr>
          <a:xfrm>
            <a:off x="4016440" y="2601073"/>
            <a:ext cx="318714" cy="264077"/>
          </a:xfrm>
          <a:prstGeom prst="rect">
            <a:avLst/>
          </a:prstGeom>
        </p:spPr>
      </p:pic>
      <p:pic>
        <p:nvPicPr>
          <p:cNvPr id="8" name="Imagen 7">
            <a:extLst>
              <a:ext uri="{FF2B5EF4-FFF2-40B4-BE49-F238E27FC236}">
                <a16:creationId xmlns:a16="http://schemas.microsoft.com/office/drawing/2014/main" id="{53CFFB2C-7C33-C634-00C4-E937BD6C6460}"/>
              </a:ext>
            </a:extLst>
          </p:cNvPr>
          <p:cNvPicPr>
            <a:picLocks noChangeAspect="1"/>
          </p:cNvPicPr>
          <p:nvPr/>
        </p:nvPicPr>
        <p:blipFill>
          <a:blip r:embed="rId4"/>
          <a:stretch>
            <a:fillRect/>
          </a:stretch>
        </p:blipFill>
        <p:spPr>
          <a:xfrm>
            <a:off x="4656815" y="2579686"/>
            <a:ext cx="318714" cy="318714"/>
          </a:xfrm>
          <a:prstGeom prst="rect">
            <a:avLst/>
          </a:prstGeom>
        </p:spPr>
      </p:pic>
      <p:pic>
        <p:nvPicPr>
          <p:cNvPr id="9" name="Imagen 8">
            <a:extLst>
              <a:ext uri="{FF2B5EF4-FFF2-40B4-BE49-F238E27FC236}">
                <a16:creationId xmlns:a16="http://schemas.microsoft.com/office/drawing/2014/main" id="{EF791863-FD67-4F8D-F8B3-FA035557E940}"/>
              </a:ext>
            </a:extLst>
          </p:cNvPr>
          <p:cNvPicPr>
            <a:picLocks noChangeAspect="1"/>
          </p:cNvPicPr>
          <p:nvPr/>
        </p:nvPicPr>
        <p:blipFill>
          <a:blip r:embed="rId5"/>
          <a:stretch>
            <a:fillRect/>
          </a:stretch>
        </p:blipFill>
        <p:spPr>
          <a:xfrm>
            <a:off x="5326240" y="2595814"/>
            <a:ext cx="218547" cy="264077"/>
          </a:xfrm>
          <a:prstGeom prst="rect">
            <a:avLst/>
          </a:prstGeom>
        </p:spPr>
      </p:pic>
      <p:pic>
        <p:nvPicPr>
          <p:cNvPr id="10" name="Imagen 9">
            <a:extLst>
              <a:ext uri="{FF2B5EF4-FFF2-40B4-BE49-F238E27FC236}">
                <a16:creationId xmlns:a16="http://schemas.microsoft.com/office/drawing/2014/main" id="{57B5BF65-05AB-D84A-FD90-D28982F5E964}"/>
              </a:ext>
            </a:extLst>
          </p:cNvPr>
          <p:cNvPicPr>
            <a:picLocks noChangeAspect="1"/>
          </p:cNvPicPr>
          <p:nvPr/>
        </p:nvPicPr>
        <p:blipFill>
          <a:blip r:embed="rId6"/>
          <a:stretch>
            <a:fillRect/>
          </a:stretch>
        </p:blipFill>
        <p:spPr>
          <a:xfrm>
            <a:off x="5950235" y="2554449"/>
            <a:ext cx="336926" cy="336926"/>
          </a:xfrm>
          <a:prstGeom prst="rect">
            <a:avLst/>
          </a:prstGeom>
        </p:spPr>
      </p:pic>
      <p:pic>
        <p:nvPicPr>
          <p:cNvPr id="11" name="Imagen 10">
            <a:extLst>
              <a:ext uri="{FF2B5EF4-FFF2-40B4-BE49-F238E27FC236}">
                <a16:creationId xmlns:a16="http://schemas.microsoft.com/office/drawing/2014/main" id="{C04262C9-F59B-7A53-9B44-5FB25F21F8BE}"/>
              </a:ext>
            </a:extLst>
          </p:cNvPr>
          <p:cNvPicPr>
            <a:picLocks noChangeAspect="1"/>
          </p:cNvPicPr>
          <p:nvPr/>
        </p:nvPicPr>
        <p:blipFill>
          <a:blip r:embed="rId7"/>
          <a:stretch>
            <a:fillRect/>
          </a:stretch>
        </p:blipFill>
        <p:spPr>
          <a:xfrm>
            <a:off x="6624603" y="2575611"/>
            <a:ext cx="282289" cy="282289"/>
          </a:xfrm>
          <a:prstGeom prst="rect">
            <a:avLst/>
          </a:prstGeom>
        </p:spPr>
      </p:pic>
      <p:pic>
        <p:nvPicPr>
          <p:cNvPr id="12" name="Imagen 11">
            <a:extLst>
              <a:ext uri="{FF2B5EF4-FFF2-40B4-BE49-F238E27FC236}">
                <a16:creationId xmlns:a16="http://schemas.microsoft.com/office/drawing/2014/main" id="{0BA209DA-38F4-7328-DA44-EDA1E66818B9}"/>
              </a:ext>
            </a:extLst>
          </p:cNvPr>
          <p:cNvPicPr>
            <a:picLocks noChangeAspect="1"/>
          </p:cNvPicPr>
          <p:nvPr/>
        </p:nvPicPr>
        <p:blipFill>
          <a:blip r:embed="rId8"/>
          <a:stretch>
            <a:fillRect/>
          </a:stretch>
        </p:blipFill>
        <p:spPr>
          <a:xfrm>
            <a:off x="7236754" y="2545343"/>
            <a:ext cx="318714" cy="318714"/>
          </a:xfrm>
          <a:prstGeom prst="rect">
            <a:avLst/>
          </a:prstGeom>
        </p:spPr>
      </p:pic>
      <p:pic>
        <p:nvPicPr>
          <p:cNvPr id="13" name="Imagen 12">
            <a:extLst>
              <a:ext uri="{FF2B5EF4-FFF2-40B4-BE49-F238E27FC236}">
                <a16:creationId xmlns:a16="http://schemas.microsoft.com/office/drawing/2014/main" id="{AC2CEFE9-3D3C-41CC-6275-C38EB70EB551}"/>
              </a:ext>
            </a:extLst>
          </p:cNvPr>
          <p:cNvPicPr>
            <a:picLocks noChangeAspect="1"/>
          </p:cNvPicPr>
          <p:nvPr/>
        </p:nvPicPr>
        <p:blipFill>
          <a:blip r:embed="rId9"/>
          <a:stretch>
            <a:fillRect/>
          </a:stretch>
        </p:blipFill>
        <p:spPr>
          <a:xfrm>
            <a:off x="7884781" y="2540918"/>
            <a:ext cx="309608" cy="346032"/>
          </a:xfrm>
          <a:prstGeom prst="rect">
            <a:avLst/>
          </a:prstGeom>
        </p:spPr>
      </p:pic>
      <p:pic>
        <p:nvPicPr>
          <p:cNvPr id="14" name="Imagen 13">
            <a:extLst>
              <a:ext uri="{FF2B5EF4-FFF2-40B4-BE49-F238E27FC236}">
                <a16:creationId xmlns:a16="http://schemas.microsoft.com/office/drawing/2014/main" id="{7E6C6389-1A8D-4A1F-9B0D-2137BBD5133A}"/>
              </a:ext>
            </a:extLst>
          </p:cNvPr>
          <p:cNvPicPr>
            <a:picLocks noChangeAspect="1"/>
          </p:cNvPicPr>
          <p:nvPr/>
        </p:nvPicPr>
        <p:blipFill>
          <a:blip r:embed="rId10"/>
          <a:stretch>
            <a:fillRect/>
          </a:stretch>
        </p:blipFill>
        <p:spPr>
          <a:xfrm>
            <a:off x="8514593" y="2605049"/>
            <a:ext cx="318714" cy="227653"/>
          </a:xfrm>
          <a:prstGeom prst="rect">
            <a:avLst/>
          </a:prstGeom>
        </p:spPr>
      </p:pic>
      <p:pic>
        <p:nvPicPr>
          <p:cNvPr id="15" name="Imagen 14">
            <a:extLst>
              <a:ext uri="{FF2B5EF4-FFF2-40B4-BE49-F238E27FC236}">
                <a16:creationId xmlns:a16="http://schemas.microsoft.com/office/drawing/2014/main" id="{F5FA2131-14AB-077F-1828-9DDBF71CB98C}"/>
              </a:ext>
            </a:extLst>
          </p:cNvPr>
          <p:cNvPicPr>
            <a:picLocks noChangeAspect="1"/>
          </p:cNvPicPr>
          <p:nvPr/>
        </p:nvPicPr>
        <p:blipFill>
          <a:blip r:embed="rId11"/>
          <a:stretch>
            <a:fillRect/>
          </a:stretch>
        </p:blipFill>
        <p:spPr>
          <a:xfrm>
            <a:off x="3385446" y="3289420"/>
            <a:ext cx="282289" cy="282289"/>
          </a:xfrm>
          <a:prstGeom prst="rect">
            <a:avLst/>
          </a:prstGeom>
        </p:spPr>
      </p:pic>
      <p:pic>
        <p:nvPicPr>
          <p:cNvPr id="16" name="Imagen 15">
            <a:extLst>
              <a:ext uri="{FF2B5EF4-FFF2-40B4-BE49-F238E27FC236}">
                <a16:creationId xmlns:a16="http://schemas.microsoft.com/office/drawing/2014/main" id="{198453DA-93C3-C42C-F04D-1B0B0EB17470}"/>
              </a:ext>
            </a:extLst>
          </p:cNvPr>
          <p:cNvPicPr>
            <a:picLocks noChangeAspect="1"/>
          </p:cNvPicPr>
          <p:nvPr/>
        </p:nvPicPr>
        <p:blipFill>
          <a:blip r:embed="rId12"/>
          <a:stretch>
            <a:fillRect/>
          </a:stretch>
        </p:blipFill>
        <p:spPr>
          <a:xfrm>
            <a:off x="4025978" y="3286342"/>
            <a:ext cx="282289" cy="282289"/>
          </a:xfrm>
          <a:prstGeom prst="rect">
            <a:avLst/>
          </a:prstGeom>
        </p:spPr>
      </p:pic>
      <p:pic>
        <p:nvPicPr>
          <p:cNvPr id="17" name="Imagen 16">
            <a:extLst>
              <a:ext uri="{FF2B5EF4-FFF2-40B4-BE49-F238E27FC236}">
                <a16:creationId xmlns:a16="http://schemas.microsoft.com/office/drawing/2014/main" id="{553BDBD6-BCC4-D158-69A5-FD53352606D5}"/>
              </a:ext>
            </a:extLst>
          </p:cNvPr>
          <p:cNvPicPr>
            <a:picLocks noChangeAspect="1"/>
          </p:cNvPicPr>
          <p:nvPr/>
        </p:nvPicPr>
        <p:blipFill>
          <a:blip r:embed="rId13"/>
          <a:stretch>
            <a:fillRect/>
          </a:stretch>
        </p:blipFill>
        <p:spPr>
          <a:xfrm>
            <a:off x="4677132" y="3299446"/>
            <a:ext cx="282289" cy="282289"/>
          </a:xfrm>
          <a:prstGeom prst="rect">
            <a:avLst/>
          </a:prstGeom>
        </p:spPr>
      </p:pic>
      <p:pic>
        <p:nvPicPr>
          <p:cNvPr id="18" name="Imagen 17">
            <a:extLst>
              <a:ext uri="{FF2B5EF4-FFF2-40B4-BE49-F238E27FC236}">
                <a16:creationId xmlns:a16="http://schemas.microsoft.com/office/drawing/2014/main" id="{78B978DE-8C86-3CD9-3101-D8F7374BF28F}"/>
              </a:ext>
            </a:extLst>
          </p:cNvPr>
          <p:cNvPicPr>
            <a:picLocks noChangeAspect="1"/>
          </p:cNvPicPr>
          <p:nvPr/>
        </p:nvPicPr>
        <p:blipFill>
          <a:blip r:embed="rId14"/>
          <a:stretch>
            <a:fillRect/>
          </a:stretch>
        </p:blipFill>
        <p:spPr>
          <a:xfrm>
            <a:off x="5313811" y="3318301"/>
            <a:ext cx="309608" cy="264077"/>
          </a:xfrm>
          <a:prstGeom prst="rect">
            <a:avLst/>
          </a:prstGeom>
        </p:spPr>
      </p:pic>
      <p:pic>
        <p:nvPicPr>
          <p:cNvPr id="19" name="Imagen 18">
            <a:extLst>
              <a:ext uri="{FF2B5EF4-FFF2-40B4-BE49-F238E27FC236}">
                <a16:creationId xmlns:a16="http://schemas.microsoft.com/office/drawing/2014/main" id="{E8FB8B16-CF48-3B57-83D9-89C453AA44AA}"/>
              </a:ext>
            </a:extLst>
          </p:cNvPr>
          <p:cNvPicPr>
            <a:picLocks noChangeAspect="1"/>
          </p:cNvPicPr>
          <p:nvPr/>
        </p:nvPicPr>
        <p:blipFill>
          <a:blip r:embed="rId15"/>
          <a:stretch>
            <a:fillRect/>
          </a:stretch>
        </p:blipFill>
        <p:spPr>
          <a:xfrm>
            <a:off x="5980246" y="3284664"/>
            <a:ext cx="282289" cy="282289"/>
          </a:xfrm>
          <a:prstGeom prst="rect">
            <a:avLst/>
          </a:prstGeom>
        </p:spPr>
      </p:pic>
      <p:pic>
        <p:nvPicPr>
          <p:cNvPr id="20" name="Imagen 19">
            <a:extLst>
              <a:ext uri="{FF2B5EF4-FFF2-40B4-BE49-F238E27FC236}">
                <a16:creationId xmlns:a16="http://schemas.microsoft.com/office/drawing/2014/main" id="{94FA91E6-7B91-69A5-A3FD-4BCF54F6633B}"/>
              </a:ext>
            </a:extLst>
          </p:cNvPr>
          <p:cNvPicPr>
            <a:picLocks noChangeAspect="1"/>
          </p:cNvPicPr>
          <p:nvPr/>
        </p:nvPicPr>
        <p:blipFill>
          <a:blip r:embed="rId16"/>
          <a:stretch>
            <a:fillRect/>
          </a:stretch>
        </p:blipFill>
        <p:spPr>
          <a:xfrm>
            <a:off x="6606760" y="3293899"/>
            <a:ext cx="291395" cy="291395"/>
          </a:xfrm>
          <a:prstGeom prst="rect">
            <a:avLst/>
          </a:prstGeom>
        </p:spPr>
      </p:pic>
      <p:pic>
        <p:nvPicPr>
          <p:cNvPr id="57" name="Imagen 56">
            <a:extLst>
              <a:ext uri="{FF2B5EF4-FFF2-40B4-BE49-F238E27FC236}">
                <a16:creationId xmlns:a16="http://schemas.microsoft.com/office/drawing/2014/main" id="{6B78CD7F-DEBA-6E87-FD4E-6022240DFB35}"/>
              </a:ext>
            </a:extLst>
          </p:cNvPr>
          <p:cNvPicPr>
            <a:picLocks noChangeAspect="1"/>
          </p:cNvPicPr>
          <p:nvPr/>
        </p:nvPicPr>
        <p:blipFill>
          <a:blip r:embed="rId17"/>
          <a:stretch>
            <a:fillRect/>
          </a:stretch>
        </p:blipFill>
        <p:spPr>
          <a:xfrm>
            <a:off x="7252079" y="3306211"/>
            <a:ext cx="291395" cy="273183"/>
          </a:xfrm>
          <a:prstGeom prst="rect">
            <a:avLst/>
          </a:prstGeom>
        </p:spPr>
      </p:pic>
      <p:pic>
        <p:nvPicPr>
          <p:cNvPr id="58" name="Imagen 57">
            <a:extLst>
              <a:ext uri="{FF2B5EF4-FFF2-40B4-BE49-F238E27FC236}">
                <a16:creationId xmlns:a16="http://schemas.microsoft.com/office/drawing/2014/main" id="{FA594515-2132-0183-4EE8-F41DF96F8401}"/>
              </a:ext>
            </a:extLst>
          </p:cNvPr>
          <p:cNvPicPr>
            <a:picLocks noChangeAspect="1"/>
          </p:cNvPicPr>
          <p:nvPr/>
        </p:nvPicPr>
        <p:blipFill>
          <a:blip r:embed="rId18"/>
          <a:stretch>
            <a:fillRect/>
          </a:stretch>
        </p:blipFill>
        <p:spPr>
          <a:xfrm>
            <a:off x="7872883" y="3266709"/>
            <a:ext cx="346032" cy="346032"/>
          </a:xfrm>
          <a:prstGeom prst="rect">
            <a:avLst/>
          </a:prstGeom>
        </p:spPr>
      </p:pic>
      <p:pic>
        <p:nvPicPr>
          <p:cNvPr id="59" name="Imagen 58">
            <a:extLst>
              <a:ext uri="{FF2B5EF4-FFF2-40B4-BE49-F238E27FC236}">
                <a16:creationId xmlns:a16="http://schemas.microsoft.com/office/drawing/2014/main" id="{2EEF12EB-3F43-ED3C-D4AB-CC66D74FA02D}"/>
              </a:ext>
            </a:extLst>
          </p:cNvPr>
          <p:cNvPicPr>
            <a:picLocks noChangeAspect="1"/>
          </p:cNvPicPr>
          <p:nvPr/>
        </p:nvPicPr>
        <p:blipFill>
          <a:blip r:embed="rId19"/>
          <a:stretch>
            <a:fillRect/>
          </a:stretch>
        </p:blipFill>
        <p:spPr>
          <a:xfrm>
            <a:off x="8537826" y="3305052"/>
            <a:ext cx="264077" cy="264077"/>
          </a:xfrm>
          <a:prstGeom prst="rect">
            <a:avLst/>
          </a:prstGeom>
        </p:spPr>
      </p:pic>
      <p:pic>
        <p:nvPicPr>
          <p:cNvPr id="60" name="Imagen 59">
            <a:extLst>
              <a:ext uri="{FF2B5EF4-FFF2-40B4-BE49-F238E27FC236}">
                <a16:creationId xmlns:a16="http://schemas.microsoft.com/office/drawing/2014/main" id="{2DB59465-389A-BC11-14FF-C9BBCD9CB987}"/>
              </a:ext>
            </a:extLst>
          </p:cNvPr>
          <p:cNvPicPr>
            <a:picLocks noChangeAspect="1"/>
          </p:cNvPicPr>
          <p:nvPr/>
        </p:nvPicPr>
        <p:blipFill>
          <a:blip r:embed="rId20"/>
          <a:stretch>
            <a:fillRect/>
          </a:stretch>
        </p:blipFill>
        <p:spPr>
          <a:xfrm>
            <a:off x="3373134" y="3998427"/>
            <a:ext cx="318714" cy="182122"/>
          </a:xfrm>
          <a:prstGeom prst="rect">
            <a:avLst/>
          </a:prstGeom>
        </p:spPr>
      </p:pic>
      <p:pic>
        <p:nvPicPr>
          <p:cNvPr id="61" name="Imagen 60">
            <a:extLst>
              <a:ext uri="{FF2B5EF4-FFF2-40B4-BE49-F238E27FC236}">
                <a16:creationId xmlns:a16="http://schemas.microsoft.com/office/drawing/2014/main" id="{215B05B0-BADB-190C-A920-82F8AF9E0401}"/>
              </a:ext>
            </a:extLst>
          </p:cNvPr>
          <p:cNvPicPr>
            <a:picLocks noChangeAspect="1"/>
          </p:cNvPicPr>
          <p:nvPr/>
        </p:nvPicPr>
        <p:blipFill>
          <a:blip r:embed="rId21"/>
          <a:stretch>
            <a:fillRect/>
          </a:stretch>
        </p:blipFill>
        <p:spPr>
          <a:xfrm>
            <a:off x="5313811" y="3948516"/>
            <a:ext cx="309608" cy="309608"/>
          </a:xfrm>
          <a:prstGeom prst="rect">
            <a:avLst/>
          </a:prstGeom>
        </p:spPr>
      </p:pic>
      <p:pic>
        <p:nvPicPr>
          <p:cNvPr id="62" name="Imagen 61">
            <a:extLst>
              <a:ext uri="{FF2B5EF4-FFF2-40B4-BE49-F238E27FC236}">
                <a16:creationId xmlns:a16="http://schemas.microsoft.com/office/drawing/2014/main" id="{66A369A9-9C0B-8B19-0ADA-6C700F6E1171}"/>
              </a:ext>
            </a:extLst>
          </p:cNvPr>
          <p:cNvPicPr>
            <a:picLocks noChangeAspect="1"/>
          </p:cNvPicPr>
          <p:nvPr/>
        </p:nvPicPr>
        <p:blipFill>
          <a:blip r:embed="rId22"/>
          <a:stretch>
            <a:fillRect/>
          </a:stretch>
        </p:blipFill>
        <p:spPr>
          <a:xfrm>
            <a:off x="5960489" y="3918529"/>
            <a:ext cx="318714" cy="318714"/>
          </a:xfrm>
          <a:prstGeom prst="rect">
            <a:avLst/>
          </a:prstGeom>
        </p:spPr>
      </p:pic>
      <p:pic>
        <p:nvPicPr>
          <p:cNvPr id="63" name="Imagen 62">
            <a:extLst>
              <a:ext uri="{FF2B5EF4-FFF2-40B4-BE49-F238E27FC236}">
                <a16:creationId xmlns:a16="http://schemas.microsoft.com/office/drawing/2014/main" id="{FDC820D0-DE74-9710-3CA7-A0C3743A7D48}"/>
              </a:ext>
            </a:extLst>
          </p:cNvPr>
          <p:cNvPicPr>
            <a:picLocks noChangeAspect="1"/>
          </p:cNvPicPr>
          <p:nvPr/>
        </p:nvPicPr>
        <p:blipFill>
          <a:blip r:embed="rId23"/>
          <a:stretch>
            <a:fillRect/>
          </a:stretch>
        </p:blipFill>
        <p:spPr>
          <a:xfrm>
            <a:off x="6584551" y="3992528"/>
            <a:ext cx="364244" cy="218547"/>
          </a:xfrm>
          <a:prstGeom prst="rect">
            <a:avLst/>
          </a:prstGeom>
        </p:spPr>
      </p:pic>
      <p:pic>
        <p:nvPicPr>
          <p:cNvPr id="64" name="Imagen 63">
            <a:extLst>
              <a:ext uri="{FF2B5EF4-FFF2-40B4-BE49-F238E27FC236}">
                <a16:creationId xmlns:a16="http://schemas.microsoft.com/office/drawing/2014/main" id="{E4AA3884-A7C4-A17C-07DD-D12FD3AEA3B9}"/>
              </a:ext>
            </a:extLst>
          </p:cNvPr>
          <p:cNvPicPr>
            <a:picLocks noChangeAspect="1"/>
          </p:cNvPicPr>
          <p:nvPr/>
        </p:nvPicPr>
        <p:blipFill>
          <a:blip r:embed="rId24"/>
          <a:stretch>
            <a:fillRect/>
          </a:stretch>
        </p:blipFill>
        <p:spPr>
          <a:xfrm>
            <a:off x="7889451" y="3919422"/>
            <a:ext cx="264077" cy="291395"/>
          </a:xfrm>
          <a:prstGeom prst="rect">
            <a:avLst/>
          </a:prstGeom>
        </p:spPr>
      </p:pic>
      <p:pic>
        <p:nvPicPr>
          <p:cNvPr id="65" name="Imagen 64">
            <a:extLst>
              <a:ext uri="{FF2B5EF4-FFF2-40B4-BE49-F238E27FC236}">
                <a16:creationId xmlns:a16="http://schemas.microsoft.com/office/drawing/2014/main" id="{C5D632D0-0739-6ED3-4033-42441C3E96AB}"/>
              </a:ext>
            </a:extLst>
          </p:cNvPr>
          <p:cNvPicPr>
            <a:picLocks noChangeAspect="1"/>
          </p:cNvPicPr>
          <p:nvPr/>
        </p:nvPicPr>
        <p:blipFill>
          <a:blip r:embed="rId25"/>
          <a:stretch>
            <a:fillRect/>
          </a:stretch>
        </p:blipFill>
        <p:spPr>
          <a:xfrm>
            <a:off x="8521811" y="3941013"/>
            <a:ext cx="336926" cy="336926"/>
          </a:xfrm>
          <a:prstGeom prst="rect">
            <a:avLst/>
          </a:prstGeom>
        </p:spPr>
      </p:pic>
      <p:pic>
        <p:nvPicPr>
          <p:cNvPr id="66" name="Imagen 65">
            <a:extLst>
              <a:ext uri="{FF2B5EF4-FFF2-40B4-BE49-F238E27FC236}">
                <a16:creationId xmlns:a16="http://schemas.microsoft.com/office/drawing/2014/main" id="{710D677A-FCF2-EE79-110F-5BC382FD41BB}"/>
              </a:ext>
            </a:extLst>
          </p:cNvPr>
          <p:cNvPicPr>
            <a:picLocks noChangeAspect="1"/>
          </p:cNvPicPr>
          <p:nvPr/>
        </p:nvPicPr>
        <p:blipFill>
          <a:blip r:embed="rId26"/>
          <a:stretch>
            <a:fillRect/>
          </a:stretch>
        </p:blipFill>
        <p:spPr>
          <a:xfrm>
            <a:off x="4647255" y="3980215"/>
            <a:ext cx="318714" cy="200334"/>
          </a:xfrm>
          <a:prstGeom prst="rect">
            <a:avLst/>
          </a:prstGeom>
        </p:spPr>
      </p:pic>
      <p:pic>
        <p:nvPicPr>
          <p:cNvPr id="67" name="Imagen 66">
            <a:extLst>
              <a:ext uri="{FF2B5EF4-FFF2-40B4-BE49-F238E27FC236}">
                <a16:creationId xmlns:a16="http://schemas.microsoft.com/office/drawing/2014/main" id="{8BBEFFFB-1746-5CF7-2BDD-7BC49D3706B5}"/>
              </a:ext>
            </a:extLst>
          </p:cNvPr>
          <p:cNvPicPr>
            <a:picLocks noChangeAspect="1"/>
          </p:cNvPicPr>
          <p:nvPr/>
        </p:nvPicPr>
        <p:blipFill>
          <a:blip r:embed="rId27"/>
          <a:stretch>
            <a:fillRect/>
          </a:stretch>
        </p:blipFill>
        <p:spPr>
          <a:xfrm>
            <a:off x="4023768" y="3936416"/>
            <a:ext cx="309608" cy="300502"/>
          </a:xfrm>
          <a:prstGeom prst="rect">
            <a:avLst/>
          </a:prstGeom>
        </p:spPr>
      </p:pic>
      <p:pic>
        <p:nvPicPr>
          <p:cNvPr id="68" name="Imagen 67">
            <a:extLst>
              <a:ext uri="{FF2B5EF4-FFF2-40B4-BE49-F238E27FC236}">
                <a16:creationId xmlns:a16="http://schemas.microsoft.com/office/drawing/2014/main" id="{4F1D8FAC-09AF-8293-B438-BBB3742E9098}"/>
              </a:ext>
            </a:extLst>
          </p:cNvPr>
          <p:cNvPicPr>
            <a:picLocks noChangeAspect="1"/>
          </p:cNvPicPr>
          <p:nvPr/>
        </p:nvPicPr>
        <p:blipFill>
          <a:blip r:embed="rId28"/>
          <a:stretch>
            <a:fillRect/>
          </a:stretch>
        </p:blipFill>
        <p:spPr>
          <a:xfrm>
            <a:off x="7275144" y="3962713"/>
            <a:ext cx="254971" cy="254971"/>
          </a:xfrm>
          <a:prstGeom prst="rect">
            <a:avLst/>
          </a:prstGeom>
        </p:spPr>
      </p:pic>
      <p:sp>
        <p:nvSpPr>
          <p:cNvPr id="69" name="Rectángulo 68">
            <a:extLst>
              <a:ext uri="{FF2B5EF4-FFF2-40B4-BE49-F238E27FC236}">
                <a16:creationId xmlns:a16="http://schemas.microsoft.com/office/drawing/2014/main" id="{564829D9-A21C-8DDD-2FC2-CB7C22282908}"/>
              </a:ext>
            </a:extLst>
          </p:cNvPr>
          <p:cNvSpPr/>
          <p:nvPr/>
        </p:nvSpPr>
        <p:spPr>
          <a:xfrm>
            <a:off x="-203200" y="4499801"/>
            <a:ext cx="12485511" cy="251059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0" name="Imagen 69">
            <a:extLst>
              <a:ext uri="{FF2B5EF4-FFF2-40B4-BE49-F238E27FC236}">
                <a16:creationId xmlns:a16="http://schemas.microsoft.com/office/drawing/2014/main" id="{70B933C7-7126-2224-C01B-78F2DFB7B1C4}"/>
              </a:ext>
            </a:extLst>
          </p:cNvPr>
          <p:cNvPicPr>
            <a:picLocks noChangeAspect="1"/>
          </p:cNvPicPr>
          <p:nvPr/>
        </p:nvPicPr>
        <p:blipFill>
          <a:blip r:embed="rId2">
            <a:lum bright="100000"/>
          </a:blip>
          <a:stretch>
            <a:fillRect/>
          </a:stretch>
        </p:blipFill>
        <p:spPr>
          <a:xfrm>
            <a:off x="3361206" y="4808815"/>
            <a:ext cx="309608" cy="318714"/>
          </a:xfrm>
          <a:prstGeom prst="rect">
            <a:avLst/>
          </a:prstGeom>
        </p:spPr>
      </p:pic>
      <p:pic>
        <p:nvPicPr>
          <p:cNvPr id="71" name="Imagen 70">
            <a:extLst>
              <a:ext uri="{FF2B5EF4-FFF2-40B4-BE49-F238E27FC236}">
                <a16:creationId xmlns:a16="http://schemas.microsoft.com/office/drawing/2014/main" id="{C493E672-65A1-E03A-4574-81F74F64C6CC}"/>
              </a:ext>
            </a:extLst>
          </p:cNvPr>
          <p:cNvPicPr>
            <a:picLocks noChangeAspect="1"/>
          </p:cNvPicPr>
          <p:nvPr/>
        </p:nvPicPr>
        <p:blipFill>
          <a:blip r:embed="rId3">
            <a:lum bright="100000"/>
          </a:blip>
          <a:stretch>
            <a:fillRect/>
          </a:stretch>
        </p:blipFill>
        <p:spPr>
          <a:xfrm>
            <a:off x="4016440" y="4841392"/>
            <a:ext cx="318714" cy="264077"/>
          </a:xfrm>
          <a:prstGeom prst="rect">
            <a:avLst/>
          </a:prstGeom>
        </p:spPr>
      </p:pic>
      <p:pic>
        <p:nvPicPr>
          <p:cNvPr id="72" name="Imagen 71">
            <a:extLst>
              <a:ext uri="{FF2B5EF4-FFF2-40B4-BE49-F238E27FC236}">
                <a16:creationId xmlns:a16="http://schemas.microsoft.com/office/drawing/2014/main" id="{9D9362C2-A6C1-1ADF-DD92-8602034A827D}"/>
              </a:ext>
            </a:extLst>
          </p:cNvPr>
          <p:cNvPicPr>
            <a:picLocks noChangeAspect="1"/>
          </p:cNvPicPr>
          <p:nvPr/>
        </p:nvPicPr>
        <p:blipFill>
          <a:blip r:embed="rId4">
            <a:lum bright="100000"/>
          </a:blip>
          <a:stretch>
            <a:fillRect/>
          </a:stretch>
        </p:blipFill>
        <p:spPr>
          <a:xfrm>
            <a:off x="4656815" y="4820005"/>
            <a:ext cx="318714" cy="318714"/>
          </a:xfrm>
          <a:prstGeom prst="rect">
            <a:avLst/>
          </a:prstGeom>
        </p:spPr>
      </p:pic>
      <p:pic>
        <p:nvPicPr>
          <p:cNvPr id="73" name="Imagen 72">
            <a:extLst>
              <a:ext uri="{FF2B5EF4-FFF2-40B4-BE49-F238E27FC236}">
                <a16:creationId xmlns:a16="http://schemas.microsoft.com/office/drawing/2014/main" id="{2D657400-929D-84FE-6744-05CDDAB996C7}"/>
              </a:ext>
            </a:extLst>
          </p:cNvPr>
          <p:cNvPicPr>
            <a:picLocks noChangeAspect="1"/>
          </p:cNvPicPr>
          <p:nvPr/>
        </p:nvPicPr>
        <p:blipFill>
          <a:blip r:embed="rId5">
            <a:lum bright="100000"/>
          </a:blip>
          <a:stretch>
            <a:fillRect/>
          </a:stretch>
        </p:blipFill>
        <p:spPr>
          <a:xfrm>
            <a:off x="5326240" y="4836133"/>
            <a:ext cx="218547" cy="264077"/>
          </a:xfrm>
          <a:prstGeom prst="rect">
            <a:avLst/>
          </a:prstGeom>
        </p:spPr>
      </p:pic>
      <p:pic>
        <p:nvPicPr>
          <p:cNvPr id="74" name="Imagen 73">
            <a:extLst>
              <a:ext uri="{FF2B5EF4-FFF2-40B4-BE49-F238E27FC236}">
                <a16:creationId xmlns:a16="http://schemas.microsoft.com/office/drawing/2014/main" id="{477D383B-EA30-65D7-D09E-00BA1654BD94}"/>
              </a:ext>
            </a:extLst>
          </p:cNvPr>
          <p:cNvPicPr>
            <a:picLocks noChangeAspect="1"/>
          </p:cNvPicPr>
          <p:nvPr/>
        </p:nvPicPr>
        <p:blipFill>
          <a:blip r:embed="rId6">
            <a:lum bright="100000"/>
          </a:blip>
          <a:stretch>
            <a:fillRect/>
          </a:stretch>
        </p:blipFill>
        <p:spPr>
          <a:xfrm>
            <a:off x="5950235" y="4794768"/>
            <a:ext cx="336926" cy="336926"/>
          </a:xfrm>
          <a:prstGeom prst="rect">
            <a:avLst/>
          </a:prstGeom>
        </p:spPr>
      </p:pic>
      <p:pic>
        <p:nvPicPr>
          <p:cNvPr id="75" name="Imagen 74">
            <a:extLst>
              <a:ext uri="{FF2B5EF4-FFF2-40B4-BE49-F238E27FC236}">
                <a16:creationId xmlns:a16="http://schemas.microsoft.com/office/drawing/2014/main" id="{A61A08B1-DDB7-9712-1CAA-67947E544415}"/>
              </a:ext>
            </a:extLst>
          </p:cNvPr>
          <p:cNvPicPr>
            <a:picLocks noChangeAspect="1"/>
          </p:cNvPicPr>
          <p:nvPr/>
        </p:nvPicPr>
        <p:blipFill>
          <a:blip r:embed="rId7">
            <a:lum bright="100000"/>
          </a:blip>
          <a:stretch>
            <a:fillRect/>
          </a:stretch>
        </p:blipFill>
        <p:spPr>
          <a:xfrm>
            <a:off x="6624603" y="4815930"/>
            <a:ext cx="282289" cy="282289"/>
          </a:xfrm>
          <a:prstGeom prst="rect">
            <a:avLst/>
          </a:prstGeom>
        </p:spPr>
      </p:pic>
      <p:pic>
        <p:nvPicPr>
          <p:cNvPr id="76" name="Imagen 75">
            <a:extLst>
              <a:ext uri="{FF2B5EF4-FFF2-40B4-BE49-F238E27FC236}">
                <a16:creationId xmlns:a16="http://schemas.microsoft.com/office/drawing/2014/main" id="{4293870B-69DA-F5D8-D7E6-C07F9D21440F}"/>
              </a:ext>
            </a:extLst>
          </p:cNvPr>
          <p:cNvPicPr>
            <a:picLocks noChangeAspect="1"/>
          </p:cNvPicPr>
          <p:nvPr/>
        </p:nvPicPr>
        <p:blipFill>
          <a:blip r:embed="rId8">
            <a:lum bright="100000"/>
          </a:blip>
          <a:stretch>
            <a:fillRect/>
          </a:stretch>
        </p:blipFill>
        <p:spPr>
          <a:xfrm>
            <a:off x="7236754" y="4785662"/>
            <a:ext cx="318714" cy="318714"/>
          </a:xfrm>
          <a:prstGeom prst="rect">
            <a:avLst/>
          </a:prstGeom>
        </p:spPr>
      </p:pic>
      <p:pic>
        <p:nvPicPr>
          <p:cNvPr id="77" name="Imagen 76">
            <a:extLst>
              <a:ext uri="{FF2B5EF4-FFF2-40B4-BE49-F238E27FC236}">
                <a16:creationId xmlns:a16="http://schemas.microsoft.com/office/drawing/2014/main" id="{F36EC88E-7295-687F-34AC-64D1B0E48EBF}"/>
              </a:ext>
            </a:extLst>
          </p:cNvPr>
          <p:cNvPicPr>
            <a:picLocks noChangeAspect="1"/>
          </p:cNvPicPr>
          <p:nvPr/>
        </p:nvPicPr>
        <p:blipFill>
          <a:blip r:embed="rId9">
            <a:lum bright="100000"/>
          </a:blip>
          <a:stretch>
            <a:fillRect/>
          </a:stretch>
        </p:blipFill>
        <p:spPr>
          <a:xfrm>
            <a:off x="7884781" y="4781237"/>
            <a:ext cx="309608" cy="346032"/>
          </a:xfrm>
          <a:prstGeom prst="rect">
            <a:avLst/>
          </a:prstGeom>
        </p:spPr>
      </p:pic>
      <p:pic>
        <p:nvPicPr>
          <p:cNvPr id="78" name="Imagen 77">
            <a:extLst>
              <a:ext uri="{FF2B5EF4-FFF2-40B4-BE49-F238E27FC236}">
                <a16:creationId xmlns:a16="http://schemas.microsoft.com/office/drawing/2014/main" id="{86CF33F4-9456-BFAC-9493-091BD7EA6ED0}"/>
              </a:ext>
            </a:extLst>
          </p:cNvPr>
          <p:cNvPicPr>
            <a:picLocks noChangeAspect="1"/>
          </p:cNvPicPr>
          <p:nvPr/>
        </p:nvPicPr>
        <p:blipFill>
          <a:blip r:embed="rId10">
            <a:lum bright="100000"/>
          </a:blip>
          <a:stretch>
            <a:fillRect/>
          </a:stretch>
        </p:blipFill>
        <p:spPr>
          <a:xfrm>
            <a:off x="8514593" y="4845368"/>
            <a:ext cx="318714" cy="227653"/>
          </a:xfrm>
          <a:prstGeom prst="rect">
            <a:avLst/>
          </a:prstGeom>
        </p:spPr>
      </p:pic>
      <p:pic>
        <p:nvPicPr>
          <p:cNvPr id="79" name="Imagen 78">
            <a:extLst>
              <a:ext uri="{FF2B5EF4-FFF2-40B4-BE49-F238E27FC236}">
                <a16:creationId xmlns:a16="http://schemas.microsoft.com/office/drawing/2014/main" id="{56850D77-78FB-F395-17B0-BAB4E1217897}"/>
              </a:ext>
            </a:extLst>
          </p:cNvPr>
          <p:cNvPicPr>
            <a:picLocks noChangeAspect="1"/>
          </p:cNvPicPr>
          <p:nvPr/>
        </p:nvPicPr>
        <p:blipFill>
          <a:blip r:embed="rId11">
            <a:lum bright="100000"/>
          </a:blip>
          <a:stretch>
            <a:fillRect/>
          </a:stretch>
        </p:blipFill>
        <p:spPr>
          <a:xfrm>
            <a:off x="3385446" y="5529739"/>
            <a:ext cx="282289" cy="282289"/>
          </a:xfrm>
          <a:prstGeom prst="rect">
            <a:avLst/>
          </a:prstGeom>
        </p:spPr>
      </p:pic>
      <p:pic>
        <p:nvPicPr>
          <p:cNvPr id="80" name="Imagen 79">
            <a:extLst>
              <a:ext uri="{FF2B5EF4-FFF2-40B4-BE49-F238E27FC236}">
                <a16:creationId xmlns:a16="http://schemas.microsoft.com/office/drawing/2014/main" id="{E7A81D72-1695-6932-8ADC-E21654058F92}"/>
              </a:ext>
            </a:extLst>
          </p:cNvPr>
          <p:cNvPicPr>
            <a:picLocks noChangeAspect="1"/>
          </p:cNvPicPr>
          <p:nvPr/>
        </p:nvPicPr>
        <p:blipFill>
          <a:blip r:embed="rId12">
            <a:lum bright="100000"/>
          </a:blip>
          <a:stretch>
            <a:fillRect/>
          </a:stretch>
        </p:blipFill>
        <p:spPr>
          <a:xfrm>
            <a:off x="4025978" y="5526661"/>
            <a:ext cx="282289" cy="282289"/>
          </a:xfrm>
          <a:prstGeom prst="rect">
            <a:avLst/>
          </a:prstGeom>
        </p:spPr>
      </p:pic>
      <p:pic>
        <p:nvPicPr>
          <p:cNvPr id="81" name="Imagen 80">
            <a:extLst>
              <a:ext uri="{FF2B5EF4-FFF2-40B4-BE49-F238E27FC236}">
                <a16:creationId xmlns:a16="http://schemas.microsoft.com/office/drawing/2014/main" id="{7093BE75-977C-A426-BFAD-DE81A653C5C2}"/>
              </a:ext>
            </a:extLst>
          </p:cNvPr>
          <p:cNvPicPr>
            <a:picLocks noChangeAspect="1"/>
          </p:cNvPicPr>
          <p:nvPr/>
        </p:nvPicPr>
        <p:blipFill>
          <a:blip r:embed="rId13">
            <a:lum bright="100000"/>
          </a:blip>
          <a:stretch>
            <a:fillRect/>
          </a:stretch>
        </p:blipFill>
        <p:spPr>
          <a:xfrm>
            <a:off x="4677132" y="5539765"/>
            <a:ext cx="282289" cy="282289"/>
          </a:xfrm>
          <a:prstGeom prst="rect">
            <a:avLst/>
          </a:prstGeom>
        </p:spPr>
      </p:pic>
      <p:pic>
        <p:nvPicPr>
          <p:cNvPr id="82" name="Imagen 81">
            <a:extLst>
              <a:ext uri="{FF2B5EF4-FFF2-40B4-BE49-F238E27FC236}">
                <a16:creationId xmlns:a16="http://schemas.microsoft.com/office/drawing/2014/main" id="{C3DBC60E-CBAC-9D68-7D9D-928CCF31E5EC}"/>
              </a:ext>
            </a:extLst>
          </p:cNvPr>
          <p:cNvPicPr>
            <a:picLocks noChangeAspect="1"/>
          </p:cNvPicPr>
          <p:nvPr/>
        </p:nvPicPr>
        <p:blipFill>
          <a:blip r:embed="rId14">
            <a:lum bright="100000"/>
          </a:blip>
          <a:stretch>
            <a:fillRect/>
          </a:stretch>
        </p:blipFill>
        <p:spPr>
          <a:xfrm>
            <a:off x="5313811" y="5558620"/>
            <a:ext cx="309608" cy="264077"/>
          </a:xfrm>
          <a:prstGeom prst="rect">
            <a:avLst/>
          </a:prstGeom>
        </p:spPr>
      </p:pic>
      <p:pic>
        <p:nvPicPr>
          <p:cNvPr id="83" name="Imagen 82">
            <a:extLst>
              <a:ext uri="{FF2B5EF4-FFF2-40B4-BE49-F238E27FC236}">
                <a16:creationId xmlns:a16="http://schemas.microsoft.com/office/drawing/2014/main" id="{596AF090-C2AE-E62B-3957-95841D72277D}"/>
              </a:ext>
            </a:extLst>
          </p:cNvPr>
          <p:cNvPicPr>
            <a:picLocks noChangeAspect="1"/>
          </p:cNvPicPr>
          <p:nvPr/>
        </p:nvPicPr>
        <p:blipFill>
          <a:blip r:embed="rId15">
            <a:lum bright="100000"/>
          </a:blip>
          <a:stretch>
            <a:fillRect/>
          </a:stretch>
        </p:blipFill>
        <p:spPr>
          <a:xfrm>
            <a:off x="5980246" y="5524983"/>
            <a:ext cx="282289" cy="282289"/>
          </a:xfrm>
          <a:prstGeom prst="rect">
            <a:avLst/>
          </a:prstGeom>
        </p:spPr>
      </p:pic>
      <p:pic>
        <p:nvPicPr>
          <p:cNvPr id="84" name="Imagen 83">
            <a:extLst>
              <a:ext uri="{FF2B5EF4-FFF2-40B4-BE49-F238E27FC236}">
                <a16:creationId xmlns:a16="http://schemas.microsoft.com/office/drawing/2014/main" id="{6D1B915E-A573-2646-A87A-BD0C23ED51CC}"/>
              </a:ext>
            </a:extLst>
          </p:cNvPr>
          <p:cNvPicPr>
            <a:picLocks noChangeAspect="1"/>
          </p:cNvPicPr>
          <p:nvPr/>
        </p:nvPicPr>
        <p:blipFill>
          <a:blip r:embed="rId16">
            <a:lum bright="100000"/>
          </a:blip>
          <a:stretch>
            <a:fillRect/>
          </a:stretch>
        </p:blipFill>
        <p:spPr>
          <a:xfrm>
            <a:off x="6606760" y="5534218"/>
            <a:ext cx="291395" cy="291395"/>
          </a:xfrm>
          <a:prstGeom prst="rect">
            <a:avLst/>
          </a:prstGeom>
        </p:spPr>
      </p:pic>
      <p:pic>
        <p:nvPicPr>
          <p:cNvPr id="85" name="Imagen 84">
            <a:extLst>
              <a:ext uri="{FF2B5EF4-FFF2-40B4-BE49-F238E27FC236}">
                <a16:creationId xmlns:a16="http://schemas.microsoft.com/office/drawing/2014/main" id="{B3513A93-9169-A950-E356-59826BA2E3DA}"/>
              </a:ext>
            </a:extLst>
          </p:cNvPr>
          <p:cNvPicPr>
            <a:picLocks noChangeAspect="1"/>
          </p:cNvPicPr>
          <p:nvPr/>
        </p:nvPicPr>
        <p:blipFill>
          <a:blip r:embed="rId17">
            <a:lum bright="100000"/>
          </a:blip>
          <a:stretch>
            <a:fillRect/>
          </a:stretch>
        </p:blipFill>
        <p:spPr>
          <a:xfrm>
            <a:off x="7252079" y="5546530"/>
            <a:ext cx="291395" cy="273183"/>
          </a:xfrm>
          <a:prstGeom prst="rect">
            <a:avLst/>
          </a:prstGeom>
        </p:spPr>
      </p:pic>
      <p:pic>
        <p:nvPicPr>
          <p:cNvPr id="86" name="Imagen 85">
            <a:extLst>
              <a:ext uri="{FF2B5EF4-FFF2-40B4-BE49-F238E27FC236}">
                <a16:creationId xmlns:a16="http://schemas.microsoft.com/office/drawing/2014/main" id="{68F56954-6A3E-F5FC-E8DD-FBD493E5FE9C}"/>
              </a:ext>
            </a:extLst>
          </p:cNvPr>
          <p:cNvPicPr>
            <a:picLocks noChangeAspect="1"/>
          </p:cNvPicPr>
          <p:nvPr/>
        </p:nvPicPr>
        <p:blipFill>
          <a:blip r:embed="rId18">
            <a:lum bright="100000"/>
          </a:blip>
          <a:stretch>
            <a:fillRect/>
          </a:stretch>
        </p:blipFill>
        <p:spPr>
          <a:xfrm>
            <a:off x="7872883" y="5507028"/>
            <a:ext cx="346032" cy="346032"/>
          </a:xfrm>
          <a:prstGeom prst="rect">
            <a:avLst/>
          </a:prstGeom>
        </p:spPr>
      </p:pic>
      <p:pic>
        <p:nvPicPr>
          <p:cNvPr id="87" name="Imagen 86">
            <a:extLst>
              <a:ext uri="{FF2B5EF4-FFF2-40B4-BE49-F238E27FC236}">
                <a16:creationId xmlns:a16="http://schemas.microsoft.com/office/drawing/2014/main" id="{212D4A67-C0A9-6CAD-0537-AF8D7A4098C8}"/>
              </a:ext>
            </a:extLst>
          </p:cNvPr>
          <p:cNvPicPr>
            <a:picLocks noChangeAspect="1"/>
          </p:cNvPicPr>
          <p:nvPr/>
        </p:nvPicPr>
        <p:blipFill>
          <a:blip r:embed="rId19">
            <a:lum bright="100000"/>
          </a:blip>
          <a:stretch>
            <a:fillRect/>
          </a:stretch>
        </p:blipFill>
        <p:spPr>
          <a:xfrm>
            <a:off x="8537826" y="5545371"/>
            <a:ext cx="264077" cy="264077"/>
          </a:xfrm>
          <a:prstGeom prst="rect">
            <a:avLst/>
          </a:prstGeom>
        </p:spPr>
      </p:pic>
      <p:pic>
        <p:nvPicPr>
          <p:cNvPr id="88" name="Imagen 87">
            <a:extLst>
              <a:ext uri="{FF2B5EF4-FFF2-40B4-BE49-F238E27FC236}">
                <a16:creationId xmlns:a16="http://schemas.microsoft.com/office/drawing/2014/main" id="{DEA194B8-A169-AFAB-5EFF-2CCDBFD29D25}"/>
              </a:ext>
            </a:extLst>
          </p:cNvPr>
          <p:cNvPicPr>
            <a:picLocks noChangeAspect="1"/>
          </p:cNvPicPr>
          <p:nvPr/>
        </p:nvPicPr>
        <p:blipFill>
          <a:blip r:embed="rId20">
            <a:lum bright="100000" contrast="100000"/>
          </a:blip>
          <a:stretch>
            <a:fillRect/>
          </a:stretch>
        </p:blipFill>
        <p:spPr>
          <a:xfrm>
            <a:off x="3373134" y="6238746"/>
            <a:ext cx="318714" cy="182122"/>
          </a:xfrm>
          <a:prstGeom prst="rect">
            <a:avLst/>
          </a:prstGeom>
        </p:spPr>
      </p:pic>
      <p:pic>
        <p:nvPicPr>
          <p:cNvPr id="89" name="Imagen 88">
            <a:extLst>
              <a:ext uri="{FF2B5EF4-FFF2-40B4-BE49-F238E27FC236}">
                <a16:creationId xmlns:a16="http://schemas.microsoft.com/office/drawing/2014/main" id="{5CD89D0A-A935-3235-D4EA-72E9D2FAA36F}"/>
              </a:ext>
            </a:extLst>
          </p:cNvPr>
          <p:cNvPicPr>
            <a:picLocks noChangeAspect="1"/>
          </p:cNvPicPr>
          <p:nvPr/>
        </p:nvPicPr>
        <p:blipFill>
          <a:blip r:embed="rId21">
            <a:lum bright="100000"/>
          </a:blip>
          <a:stretch>
            <a:fillRect/>
          </a:stretch>
        </p:blipFill>
        <p:spPr>
          <a:xfrm>
            <a:off x="5313811" y="6188835"/>
            <a:ext cx="309608" cy="309608"/>
          </a:xfrm>
          <a:prstGeom prst="rect">
            <a:avLst/>
          </a:prstGeom>
        </p:spPr>
      </p:pic>
      <p:pic>
        <p:nvPicPr>
          <p:cNvPr id="90" name="Imagen 89">
            <a:extLst>
              <a:ext uri="{FF2B5EF4-FFF2-40B4-BE49-F238E27FC236}">
                <a16:creationId xmlns:a16="http://schemas.microsoft.com/office/drawing/2014/main" id="{8E1B7A27-5667-9EAF-0D0C-1D7EC24C1FA6}"/>
              </a:ext>
            </a:extLst>
          </p:cNvPr>
          <p:cNvPicPr>
            <a:picLocks noChangeAspect="1"/>
          </p:cNvPicPr>
          <p:nvPr/>
        </p:nvPicPr>
        <p:blipFill>
          <a:blip r:embed="rId22">
            <a:lum bright="100000"/>
          </a:blip>
          <a:stretch>
            <a:fillRect/>
          </a:stretch>
        </p:blipFill>
        <p:spPr>
          <a:xfrm>
            <a:off x="5960489" y="6158848"/>
            <a:ext cx="318714" cy="318714"/>
          </a:xfrm>
          <a:prstGeom prst="rect">
            <a:avLst/>
          </a:prstGeom>
        </p:spPr>
      </p:pic>
      <p:pic>
        <p:nvPicPr>
          <p:cNvPr id="91" name="Imagen 90">
            <a:extLst>
              <a:ext uri="{FF2B5EF4-FFF2-40B4-BE49-F238E27FC236}">
                <a16:creationId xmlns:a16="http://schemas.microsoft.com/office/drawing/2014/main" id="{52D46F5C-9D73-F369-3037-1F4967F12D78}"/>
              </a:ext>
            </a:extLst>
          </p:cNvPr>
          <p:cNvPicPr>
            <a:picLocks noChangeAspect="1"/>
          </p:cNvPicPr>
          <p:nvPr/>
        </p:nvPicPr>
        <p:blipFill>
          <a:blip r:embed="rId23">
            <a:lum bright="100000"/>
          </a:blip>
          <a:stretch>
            <a:fillRect/>
          </a:stretch>
        </p:blipFill>
        <p:spPr>
          <a:xfrm>
            <a:off x="6584551" y="6232847"/>
            <a:ext cx="364244" cy="218547"/>
          </a:xfrm>
          <a:prstGeom prst="rect">
            <a:avLst/>
          </a:prstGeom>
        </p:spPr>
      </p:pic>
      <p:pic>
        <p:nvPicPr>
          <p:cNvPr id="92" name="Imagen 91">
            <a:extLst>
              <a:ext uri="{FF2B5EF4-FFF2-40B4-BE49-F238E27FC236}">
                <a16:creationId xmlns:a16="http://schemas.microsoft.com/office/drawing/2014/main" id="{E63A8729-C1AE-4F90-BC60-A11B6F895C37}"/>
              </a:ext>
            </a:extLst>
          </p:cNvPr>
          <p:cNvPicPr>
            <a:picLocks noChangeAspect="1"/>
          </p:cNvPicPr>
          <p:nvPr/>
        </p:nvPicPr>
        <p:blipFill>
          <a:blip r:embed="rId24">
            <a:lum bright="100000"/>
          </a:blip>
          <a:stretch>
            <a:fillRect/>
          </a:stretch>
        </p:blipFill>
        <p:spPr>
          <a:xfrm>
            <a:off x="7889451" y="6159741"/>
            <a:ext cx="264077" cy="291395"/>
          </a:xfrm>
          <a:prstGeom prst="rect">
            <a:avLst/>
          </a:prstGeom>
        </p:spPr>
      </p:pic>
      <p:pic>
        <p:nvPicPr>
          <p:cNvPr id="93" name="Imagen 92">
            <a:extLst>
              <a:ext uri="{FF2B5EF4-FFF2-40B4-BE49-F238E27FC236}">
                <a16:creationId xmlns:a16="http://schemas.microsoft.com/office/drawing/2014/main" id="{18066CF7-4139-FD5A-4082-3C67CBC7606D}"/>
              </a:ext>
            </a:extLst>
          </p:cNvPr>
          <p:cNvPicPr>
            <a:picLocks noChangeAspect="1"/>
          </p:cNvPicPr>
          <p:nvPr/>
        </p:nvPicPr>
        <p:blipFill>
          <a:blip r:embed="rId25">
            <a:lum bright="100000"/>
          </a:blip>
          <a:stretch>
            <a:fillRect/>
          </a:stretch>
        </p:blipFill>
        <p:spPr>
          <a:xfrm>
            <a:off x="8521811" y="6181332"/>
            <a:ext cx="336926" cy="336926"/>
          </a:xfrm>
          <a:prstGeom prst="rect">
            <a:avLst/>
          </a:prstGeom>
        </p:spPr>
      </p:pic>
      <p:pic>
        <p:nvPicPr>
          <p:cNvPr id="94" name="Imagen 93">
            <a:extLst>
              <a:ext uri="{FF2B5EF4-FFF2-40B4-BE49-F238E27FC236}">
                <a16:creationId xmlns:a16="http://schemas.microsoft.com/office/drawing/2014/main" id="{DDBF0C57-90E1-5629-8A74-08B0C8211DD1}"/>
              </a:ext>
            </a:extLst>
          </p:cNvPr>
          <p:cNvPicPr>
            <a:picLocks noChangeAspect="1"/>
          </p:cNvPicPr>
          <p:nvPr/>
        </p:nvPicPr>
        <p:blipFill>
          <a:blip r:embed="rId26">
            <a:lum bright="100000"/>
          </a:blip>
          <a:stretch>
            <a:fillRect/>
          </a:stretch>
        </p:blipFill>
        <p:spPr>
          <a:xfrm>
            <a:off x="4647255" y="6220534"/>
            <a:ext cx="318714" cy="200334"/>
          </a:xfrm>
          <a:prstGeom prst="rect">
            <a:avLst/>
          </a:prstGeom>
        </p:spPr>
      </p:pic>
      <p:pic>
        <p:nvPicPr>
          <p:cNvPr id="95" name="Imagen 94">
            <a:extLst>
              <a:ext uri="{FF2B5EF4-FFF2-40B4-BE49-F238E27FC236}">
                <a16:creationId xmlns:a16="http://schemas.microsoft.com/office/drawing/2014/main" id="{1884B4F8-B89E-DA91-A6D5-4B0A9FC53267}"/>
              </a:ext>
            </a:extLst>
          </p:cNvPr>
          <p:cNvPicPr>
            <a:picLocks noChangeAspect="1"/>
          </p:cNvPicPr>
          <p:nvPr/>
        </p:nvPicPr>
        <p:blipFill>
          <a:blip r:embed="rId27">
            <a:lum bright="100000"/>
          </a:blip>
          <a:stretch>
            <a:fillRect/>
          </a:stretch>
        </p:blipFill>
        <p:spPr>
          <a:xfrm>
            <a:off x="4023768" y="6176735"/>
            <a:ext cx="309608" cy="300502"/>
          </a:xfrm>
          <a:prstGeom prst="rect">
            <a:avLst/>
          </a:prstGeom>
        </p:spPr>
      </p:pic>
      <p:pic>
        <p:nvPicPr>
          <p:cNvPr id="96" name="Imagen 95">
            <a:extLst>
              <a:ext uri="{FF2B5EF4-FFF2-40B4-BE49-F238E27FC236}">
                <a16:creationId xmlns:a16="http://schemas.microsoft.com/office/drawing/2014/main" id="{73C6C802-4234-D987-80AC-176B9F485E71}"/>
              </a:ext>
            </a:extLst>
          </p:cNvPr>
          <p:cNvPicPr>
            <a:picLocks noChangeAspect="1"/>
          </p:cNvPicPr>
          <p:nvPr/>
        </p:nvPicPr>
        <p:blipFill>
          <a:blip r:embed="rId28">
            <a:lum bright="100000"/>
          </a:blip>
          <a:stretch>
            <a:fillRect/>
          </a:stretch>
        </p:blipFill>
        <p:spPr>
          <a:xfrm>
            <a:off x="7275144" y="6203032"/>
            <a:ext cx="254971" cy="254971"/>
          </a:xfrm>
          <a:prstGeom prst="rect">
            <a:avLst/>
          </a:prstGeom>
        </p:spPr>
      </p:pic>
      <p:pic>
        <p:nvPicPr>
          <p:cNvPr id="97" name="Imagen 96">
            <a:extLst>
              <a:ext uri="{FF2B5EF4-FFF2-40B4-BE49-F238E27FC236}">
                <a16:creationId xmlns:a16="http://schemas.microsoft.com/office/drawing/2014/main" id="{B7D2884C-1998-D365-4335-A601DA7F6DD9}"/>
              </a:ext>
            </a:extLst>
          </p:cNvPr>
          <p:cNvPicPr>
            <a:picLocks noChangeAspect="1"/>
          </p:cNvPicPr>
          <p:nvPr/>
        </p:nvPicPr>
        <p:blipFill>
          <a:blip r:embed="rId29"/>
          <a:stretch>
            <a:fillRect/>
          </a:stretch>
        </p:blipFill>
        <p:spPr>
          <a:xfrm>
            <a:off x="3373134" y="372973"/>
            <a:ext cx="299581" cy="308392"/>
          </a:xfrm>
          <a:prstGeom prst="rect">
            <a:avLst/>
          </a:prstGeom>
        </p:spPr>
      </p:pic>
      <p:pic>
        <p:nvPicPr>
          <p:cNvPr id="98" name="Imagen 97">
            <a:extLst>
              <a:ext uri="{FF2B5EF4-FFF2-40B4-BE49-F238E27FC236}">
                <a16:creationId xmlns:a16="http://schemas.microsoft.com/office/drawing/2014/main" id="{2935674A-5308-36EE-E305-36C15A3913E8}"/>
              </a:ext>
            </a:extLst>
          </p:cNvPr>
          <p:cNvPicPr>
            <a:picLocks noChangeAspect="1"/>
          </p:cNvPicPr>
          <p:nvPr/>
        </p:nvPicPr>
        <p:blipFill>
          <a:blip r:embed="rId30"/>
          <a:stretch>
            <a:fillRect/>
          </a:stretch>
        </p:blipFill>
        <p:spPr>
          <a:xfrm>
            <a:off x="4012926" y="403918"/>
            <a:ext cx="308392" cy="255525"/>
          </a:xfrm>
          <a:prstGeom prst="rect">
            <a:avLst/>
          </a:prstGeom>
        </p:spPr>
      </p:pic>
      <p:pic>
        <p:nvPicPr>
          <p:cNvPr id="99" name="Imagen 98">
            <a:extLst>
              <a:ext uri="{FF2B5EF4-FFF2-40B4-BE49-F238E27FC236}">
                <a16:creationId xmlns:a16="http://schemas.microsoft.com/office/drawing/2014/main" id="{1A66015F-7368-C2B4-F68A-2B4187A2AD28}"/>
              </a:ext>
            </a:extLst>
          </p:cNvPr>
          <p:cNvPicPr>
            <a:picLocks noChangeAspect="1"/>
          </p:cNvPicPr>
          <p:nvPr/>
        </p:nvPicPr>
        <p:blipFill>
          <a:blip r:embed="rId31"/>
          <a:stretch>
            <a:fillRect/>
          </a:stretch>
        </p:blipFill>
        <p:spPr>
          <a:xfrm>
            <a:off x="4668907" y="382400"/>
            <a:ext cx="308392" cy="308392"/>
          </a:xfrm>
          <a:prstGeom prst="rect">
            <a:avLst/>
          </a:prstGeom>
        </p:spPr>
      </p:pic>
      <p:pic>
        <p:nvPicPr>
          <p:cNvPr id="100" name="Imagen 99">
            <a:extLst>
              <a:ext uri="{FF2B5EF4-FFF2-40B4-BE49-F238E27FC236}">
                <a16:creationId xmlns:a16="http://schemas.microsoft.com/office/drawing/2014/main" id="{BF7B42AB-F6AA-2B76-87DF-8165A2BE396C}"/>
              </a:ext>
            </a:extLst>
          </p:cNvPr>
          <p:cNvPicPr>
            <a:picLocks noChangeAspect="1"/>
          </p:cNvPicPr>
          <p:nvPr/>
        </p:nvPicPr>
        <p:blipFill>
          <a:blip r:embed="rId32"/>
          <a:stretch>
            <a:fillRect/>
          </a:stretch>
        </p:blipFill>
        <p:spPr>
          <a:xfrm>
            <a:off x="5329778" y="395846"/>
            <a:ext cx="211469" cy="255525"/>
          </a:xfrm>
          <a:prstGeom prst="rect">
            <a:avLst/>
          </a:prstGeom>
        </p:spPr>
      </p:pic>
      <p:pic>
        <p:nvPicPr>
          <p:cNvPr id="101" name="Imagen 100">
            <a:extLst>
              <a:ext uri="{FF2B5EF4-FFF2-40B4-BE49-F238E27FC236}">
                <a16:creationId xmlns:a16="http://schemas.microsoft.com/office/drawing/2014/main" id="{E75752F2-BBAD-ECFE-93F3-750B3E7FD066}"/>
              </a:ext>
            </a:extLst>
          </p:cNvPr>
          <p:cNvPicPr>
            <a:picLocks noChangeAspect="1"/>
          </p:cNvPicPr>
          <p:nvPr/>
        </p:nvPicPr>
        <p:blipFill>
          <a:blip r:embed="rId33"/>
          <a:stretch>
            <a:fillRect/>
          </a:stretch>
        </p:blipFill>
        <p:spPr>
          <a:xfrm>
            <a:off x="5965139" y="362407"/>
            <a:ext cx="326014" cy="326014"/>
          </a:xfrm>
          <a:prstGeom prst="rect">
            <a:avLst/>
          </a:prstGeom>
        </p:spPr>
      </p:pic>
      <p:pic>
        <p:nvPicPr>
          <p:cNvPr id="102" name="Imagen 101">
            <a:extLst>
              <a:ext uri="{FF2B5EF4-FFF2-40B4-BE49-F238E27FC236}">
                <a16:creationId xmlns:a16="http://schemas.microsoft.com/office/drawing/2014/main" id="{364ACDC8-2585-3467-E26D-E5E63531A7D2}"/>
              </a:ext>
            </a:extLst>
          </p:cNvPr>
          <p:cNvPicPr>
            <a:picLocks noChangeAspect="1"/>
          </p:cNvPicPr>
          <p:nvPr/>
        </p:nvPicPr>
        <p:blipFill>
          <a:blip r:embed="rId34"/>
          <a:stretch>
            <a:fillRect/>
          </a:stretch>
        </p:blipFill>
        <p:spPr>
          <a:xfrm>
            <a:off x="6625762" y="379461"/>
            <a:ext cx="273147" cy="273147"/>
          </a:xfrm>
          <a:prstGeom prst="rect">
            <a:avLst/>
          </a:prstGeom>
        </p:spPr>
      </p:pic>
      <p:pic>
        <p:nvPicPr>
          <p:cNvPr id="103" name="Imagen 102">
            <a:extLst>
              <a:ext uri="{FF2B5EF4-FFF2-40B4-BE49-F238E27FC236}">
                <a16:creationId xmlns:a16="http://schemas.microsoft.com/office/drawing/2014/main" id="{67679CC5-45C4-B62C-0933-13CDC0AAABE6}"/>
              </a:ext>
            </a:extLst>
          </p:cNvPr>
          <p:cNvPicPr>
            <a:picLocks noChangeAspect="1"/>
          </p:cNvPicPr>
          <p:nvPr/>
        </p:nvPicPr>
        <p:blipFill>
          <a:blip r:embed="rId35"/>
          <a:stretch>
            <a:fillRect/>
          </a:stretch>
        </p:blipFill>
        <p:spPr>
          <a:xfrm>
            <a:off x="7248433" y="355760"/>
            <a:ext cx="308392" cy="308392"/>
          </a:xfrm>
          <a:prstGeom prst="rect">
            <a:avLst/>
          </a:prstGeom>
        </p:spPr>
      </p:pic>
      <p:pic>
        <p:nvPicPr>
          <p:cNvPr id="104" name="Imagen 103">
            <a:extLst>
              <a:ext uri="{FF2B5EF4-FFF2-40B4-BE49-F238E27FC236}">
                <a16:creationId xmlns:a16="http://schemas.microsoft.com/office/drawing/2014/main" id="{326F1919-3F95-7DBE-8D6E-0A1DE2E16C7E}"/>
              </a:ext>
            </a:extLst>
          </p:cNvPr>
          <p:cNvPicPr>
            <a:picLocks noChangeAspect="1"/>
          </p:cNvPicPr>
          <p:nvPr/>
        </p:nvPicPr>
        <p:blipFill>
          <a:blip r:embed="rId36"/>
          <a:stretch>
            <a:fillRect/>
          </a:stretch>
        </p:blipFill>
        <p:spPr>
          <a:xfrm>
            <a:off x="7879425" y="348372"/>
            <a:ext cx="299581" cy="334825"/>
          </a:xfrm>
          <a:prstGeom prst="rect">
            <a:avLst/>
          </a:prstGeom>
        </p:spPr>
      </p:pic>
      <p:pic>
        <p:nvPicPr>
          <p:cNvPr id="105" name="Imagen 104">
            <a:extLst>
              <a:ext uri="{FF2B5EF4-FFF2-40B4-BE49-F238E27FC236}">
                <a16:creationId xmlns:a16="http://schemas.microsoft.com/office/drawing/2014/main" id="{F0C5A885-53BF-66A5-53FE-6C24C8D3B82C}"/>
              </a:ext>
            </a:extLst>
          </p:cNvPr>
          <p:cNvPicPr>
            <a:picLocks noChangeAspect="1"/>
          </p:cNvPicPr>
          <p:nvPr/>
        </p:nvPicPr>
        <p:blipFill>
          <a:blip r:embed="rId37"/>
          <a:stretch>
            <a:fillRect/>
          </a:stretch>
        </p:blipFill>
        <p:spPr>
          <a:xfrm>
            <a:off x="8515668" y="410028"/>
            <a:ext cx="308392" cy="220280"/>
          </a:xfrm>
          <a:prstGeom prst="rect">
            <a:avLst/>
          </a:prstGeom>
        </p:spPr>
      </p:pic>
      <p:pic>
        <p:nvPicPr>
          <p:cNvPr id="106" name="Imagen 105">
            <a:extLst>
              <a:ext uri="{FF2B5EF4-FFF2-40B4-BE49-F238E27FC236}">
                <a16:creationId xmlns:a16="http://schemas.microsoft.com/office/drawing/2014/main" id="{9CB7D35D-0DDB-5C20-0E34-E1DA7C1C4C87}"/>
              </a:ext>
            </a:extLst>
          </p:cNvPr>
          <p:cNvPicPr>
            <a:picLocks noChangeAspect="1"/>
          </p:cNvPicPr>
          <p:nvPr/>
        </p:nvPicPr>
        <p:blipFill>
          <a:blip r:embed="rId38"/>
          <a:stretch>
            <a:fillRect/>
          </a:stretch>
        </p:blipFill>
        <p:spPr>
          <a:xfrm>
            <a:off x="3394040" y="1090025"/>
            <a:ext cx="273147" cy="273147"/>
          </a:xfrm>
          <a:prstGeom prst="rect">
            <a:avLst/>
          </a:prstGeom>
        </p:spPr>
      </p:pic>
      <p:pic>
        <p:nvPicPr>
          <p:cNvPr id="107" name="Imagen 106">
            <a:extLst>
              <a:ext uri="{FF2B5EF4-FFF2-40B4-BE49-F238E27FC236}">
                <a16:creationId xmlns:a16="http://schemas.microsoft.com/office/drawing/2014/main" id="{D2F9D4AF-73C1-347A-3B1E-4D2210CD53CF}"/>
              </a:ext>
            </a:extLst>
          </p:cNvPr>
          <p:cNvPicPr>
            <a:picLocks noChangeAspect="1"/>
          </p:cNvPicPr>
          <p:nvPr/>
        </p:nvPicPr>
        <p:blipFill>
          <a:blip r:embed="rId39"/>
          <a:stretch>
            <a:fillRect/>
          </a:stretch>
        </p:blipFill>
        <p:spPr>
          <a:xfrm>
            <a:off x="4030548" y="1090025"/>
            <a:ext cx="273147" cy="273147"/>
          </a:xfrm>
          <a:prstGeom prst="rect">
            <a:avLst/>
          </a:prstGeom>
        </p:spPr>
      </p:pic>
      <p:pic>
        <p:nvPicPr>
          <p:cNvPr id="108" name="Imagen 107">
            <a:extLst>
              <a:ext uri="{FF2B5EF4-FFF2-40B4-BE49-F238E27FC236}">
                <a16:creationId xmlns:a16="http://schemas.microsoft.com/office/drawing/2014/main" id="{1F3DE7B9-FED3-3246-D5B7-8582DD957425}"/>
              </a:ext>
            </a:extLst>
          </p:cNvPr>
          <p:cNvPicPr>
            <a:picLocks noChangeAspect="1"/>
          </p:cNvPicPr>
          <p:nvPr/>
        </p:nvPicPr>
        <p:blipFill>
          <a:blip r:embed="rId40"/>
          <a:stretch>
            <a:fillRect/>
          </a:stretch>
        </p:blipFill>
        <p:spPr>
          <a:xfrm>
            <a:off x="4689302" y="1107699"/>
            <a:ext cx="273147" cy="273147"/>
          </a:xfrm>
          <a:prstGeom prst="rect">
            <a:avLst/>
          </a:prstGeom>
        </p:spPr>
      </p:pic>
      <p:pic>
        <p:nvPicPr>
          <p:cNvPr id="109" name="Imagen 108">
            <a:extLst>
              <a:ext uri="{FF2B5EF4-FFF2-40B4-BE49-F238E27FC236}">
                <a16:creationId xmlns:a16="http://schemas.microsoft.com/office/drawing/2014/main" id="{96A8192A-1624-2012-90F0-D92631B31B53}"/>
              </a:ext>
            </a:extLst>
          </p:cNvPr>
          <p:cNvPicPr>
            <a:picLocks noChangeAspect="1"/>
          </p:cNvPicPr>
          <p:nvPr/>
        </p:nvPicPr>
        <p:blipFill>
          <a:blip r:embed="rId41"/>
          <a:stretch>
            <a:fillRect/>
          </a:stretch>
        </p:blipFill>
        <p:spPr>
          <a:xfrm>
            <a:off x="5331118" y="1129763"/>
            <a:ext cx="299581" cy="246713"/>
          </a:xfrm>
          <a:prstGeom prst="rect">
            <a:avLst/>
          </a:prstGeom>
        </p:spPr>
      </p:pic>
      <p:pic>
        <p:nvPicPr>
          <p:cNvPr id="110" name="Imagen 109">
            <a:extLst>
              <a:ext uri="{FF2B5EF4-FFF2-40B4-BE49-F238E27FC236}">
                <a16:creationId xmlns:a16="http://schemas.microsoft.com/office/drawing/2014/main" id="{C8F1D5B8-7D9D-62C4-F93F-E573EC98C660}"/>
              </a:ext>
            </a:extLst>
          </p:cNvPr>
          <p:cNvPicPr>
            <a:picLocks noChangeAspect="1"/>
          </p:cNvPicPr>
          <p:nvPr/>
        </p:nvPicPr>
        <p:blipFill>
          <a:blip r:embed="rId42"/>
          <a:stretch>
            <a:fillRect/>
          </a:stretch>
        </p:blipFill>
        <p:spPr>
          <a:xfrm>
            <a:off x="5987526" y="1096220"/>
            <a:ext cx="273147" cy="273147"/>
          </a:xfrm>
          <a:prstGeom prst="rect">
            <a:avLst/>
          </a:prstGeom>
        </p:spPr>
      </p:pic>
      <p:pic>
        <p:nvPicPr>
          <p:cNvPr id="111" name="Imagen 110">
            <a:extLst>
              <a:ext uri="{FF2B5EF4-FFF2-40B4-BE49-F238E27FC236}">
                <a16:creationId xmlns:a16="http://schemas.microsoft.com/office/drawing/2014/main" id="{AAAB7767-D2B1-3517-282F-0155771D0F72}"/>
              </a:ext>
            </a:extLst>
          </p:cNvPr>
          <p:cNvPicPr>
            <a:picLocks noChangeAspect="1"/>
          </p:cNvPicPr>
          <p:nvPr/>
        </p:nvPicPr>
        <p:blipFill>
          <a:blip r:embed="rId43"/>
          <a:stretch>
            <a:fillRect/>
          </a:stretch>
        </p:blipFill>
        <p:spPr>
          <a:xfrm>
            <a:off x="6616197" y="1095851"/>
            <a:ext cx="281958" cy="281958"/>
          </a:xfrm>
          <a:prstGeom prst="rect">
            <a:avLst/>
          </a:prstGeom>
        </p:spPr>
      </p:pic>
      <p:pic>
        <p:nvPicPr>
          <p:cNvPr id="112" name="Imagen 111">
            <a:extLst>
              <a:ext uri="{FF2B5EF4-FFF2-40B4-BE49-F238E27FC236}">
                <a16:creationId xmlns:a16="http://schemas.microsoft.com/office/drawing/2014/main" id="{586DA5C8-8A55-C50E-EE35-364D7BBDD608}"/>
              </a:ext>
            </a:extLst>
          </p:cNvPr>
          <p:cNvPicPr>
            <a:picLocks noChangeAspect="1"/>
          </p:cNvPicPr>
          <p:nvPr/>
        </p:nvPicPr>
        <p:blipFill>
          <a:blip r:embed="rId44"/>
          <a:stretch>
            <a:fillRect/>
          </a:stretch>
        </p:blipFill>
        <p:spPr>
          <a:xfrm>
            <a:off x="7261516" y="1112105"/>
            <a:ext cx="281958" cy="264336"/>
          </a:xfrm>
          <a:prstGeom prst="rect">
            <a:avLst/>
          </a:prstGeom>
        </p:spPr>
      </p:pic>
      <p:pic>
        <p:nvPicPr>
          <p:cNvPr id="113" name="Imagen 112">
            <a:extLst>
              <a:ext uri="{FF2B5EF4-FFF2-40B4-BE49-F238E27FC236}">
                <a16:creationId xmlns:a16="http://schemas.microsoft.com/office/drawing/2014/main" id="{902A34C8-EE25-7CED-E177-DF00E23C7B33}"/>
              </a:ext>
            </a:extLst>
          </p:cNvPr>
          <p:cNvPicPr>
            <a:picLocks noChangeAspect="1"/>
          </p:cNvPicPr>
          <p:nvPr/>
        </p:nvPicPr>
        <p:blipFill>
          <a:blip r:embed="rId45"/>
          <a:stretch>
            <a:fillRect/>
          </a:stretch>
        </p:blipFill>
        <p:spPr>
          <a:xfrm>
            <a:off x="7876980" y="1063505"/>
            <a:ext cx="334826" cy="334825"/>
          </a:xfrm>
          <a:prstGeom prst="rect">
            <a:avLst/>
          </a:prstGeom>
        </p:spPr>
      </p:pic>
      <p:pic>
        <p:nvPicPr>
          <p:cNvPr id="114" name="Imagen 113">
            <a:extLst>
              <a:ext uri="{FF2B5EF4-FFF2-40B4-BE49-F238E27FC236}">
                <a16:creationId xmlns:a16="http://schemas.microsoft.com/office/drawing/2014/main" id="{4F1D6649-1CC1-27F3-776D-4A70E8DE92F1}"/>
              </a:ext>
            </a:extLst>
          </p:cNvPr>
          <p:cNvPicPr>
            <a:picLocks noChangeAspect="1"/>
          </p:cNvPicPr>
          <p:nvPr/>
        </p:nvPicPr>
        <p:blipFill>
          <a:blip r:embed="rId46"/>
          <a:stretch>
            <a:fillRect/>
          </a:stretch>
        </p:blipFill>
        <p:spPr>
          <a:xfrm>
            <a:off x="8542101" y="1109831"/>
            <a:ext cx="255525" cy="255525"/>
          </a:xfrm>
          <a:prstGeom prst="rect">
            <a:avLst/>
          </a:prstGeom>
        </p:spPr>
      </p:pic>
      <p:pic>
        <p:nvPicPr>
          <p:cNvPr id="115" name="Imagen 114">
            <a:extLst>
              <a:ext uri="{FF2B5EF4-FFF2-40B4-BE49-F238E27FC236}">
                <a16:creationId xmlns:a16="http://schemas.microsoft.com/office/drawing/2014/main" id="{A2010DAE-DC6E-29C8-C40C-F899CECF3867}"/>
              </a:ext>
            </a:extLst>
          </p:cNvPr>
          <p:cNvPicPr>
            <a:picLocks noChangeAspect="1"/>
          </p:cNvPicPr>
          <p:nvPr/>
        </p:nvPicPr>
        <p:blipFill>
          <a:blip r:embed="rId47"/>
          <a:stretch>
            <a:fillRect/>
          </a:stretch>
        </p:blipFill>
        <p:spPr>
          <a:xfrm>
            <a:off x="3383456" y="1799898"/>
            <a:ext cx="308392" cy="176224"/>
          </a:xfrm>
          <a:prstGeom prst="rect">
            <a:avLst/>
          </a:prstGeom>
        </p:spPr>
      </p:pic>
      <p:pic>
        <p:nvPicPr>
          <p:cNvPr id="116" name="Imagen 115">
            <a:extLst>
              <a:ext uri="{FF2B5EF4-FFF2-40B4-BE49-F238E27FC236}">
                <a16:creationId xmlns:a16="http://schemas.microsoft.com/office/drawing/2014/main" id="{6DC4D31E-01A2-8121-ECC9-23027084E503}"/>
              </a:ext>
            </a:extLst>
          </p:cNvPr>
          <p:cNvPicPr>
            <a:picLocks noChangeAspect="1"/>
          </p:cNvPicPr>
          <p:nvPr/>
        </p:nvPicPr>
        <p:blipFill>
          <a:blip r:embed="rId48"/>
          <a:stretch>
            <a:fillRect/>
          </a:stretch>
        </p:blipFill>
        <p:spPr>
          <a:xfrm>
            <a:off x="4030288" y="1754188"/>
            <a:ext cx="299581" cy="290769"/>
          </a:xfrm>
          <a:prstGeom prst="rect">
            <a:avLst/>
          </a:prstGeom>
        </p:spPr>
      </p:pic>
      <p:pic>
        <p:nvPicPr>
          <p:cNvPr id="117" name="Imagen 116">
            <a:extLst>
              <a:ext uri="{FF2B5EF4-FFF2-40B4-BE49-F238E27FC236}">
                <a16:creationId xmlns:a16="http://schemas.microsoft.com/office/drawing/2014/main" id="{A8CB2D22-3FD5-92A1-BB8A-77272F8CDEB5}"/>
              </a:ext>
            </a:extLst>
          </p:cNvPr>
          <p:cNvPicPr>
            <a:picLocks noChangeAspect="1"/>
          </p:cNvPicPr>
          <p:nvPr/>
        </p:nvPicPr>
        <p:blipFill>
          <a:blip r:embed="rId49"/>
          <a:stretch>
            <a:fillRect/>
          </a:stretch>
        </p:blipFill>
        <p:spPr>
          <a:xfrm>
            <a:off x="4663767" y="1782434"/>
            <a:ext cx="308392" cy="193846"/>
          </a:xfrm>
          <a:prstGeom prst="rect">
            <a:avLst/>
          </a:prstGeom>
        </p:spPr>
      </p:pic>
      <p:pic>
        <p:nvPicPr>
          <p:cNvPr id="118" name="Imagen 117">
            <a:extLst>
              <a:ext uri="{FF2B5EF4-FFF2-40B4-BE49-F238E27FC236}">
                <a16:creationId xmlns:a16="http://schemas.microsoft.com/office/drawing/2014/main" id="{990CD562-3017-BD14-B8F3-A965E4C4082B}"/>
              </a:ext>
            </a:extLst>
          </p:cNvPr>
          <p:cNvPicPr>
            <a:picLocks noChangeAspect="1"/>
          </p:cNvPicPr>
          <p:nvPr/>
        </p:nvPicPr>
        <p:blipFill>
          <a:blip r:embed="rId50"/>
          <a:stretch>
            <a:fillRect/>
          </a:stretch>
        </p:blipFill>
        <p:spPr>
          <a:xfrm>
            <a:off x="5329680" y="1747717"/>
            <a:ext cx="299581" cy="299581"/>
          </a:xfrm>
          <a:prstGeom prst="rect">
            <a:avLst/>
          </a:prstGeom>
        </p:spPr>
      </p:pic>
      <p:pic>
        <p:nvPicPr>
          <p:cNvPr id="119" name="Imagen 118">
            <a:extLst>
              <a:ext uri="{FF2B5EF4-FFF2-40B4-BE49-F238E27FC236}">
                <a16:creationId xmlns:a16="http://schemas.microsoft.com/office/drawing/2014/main" id="{52E7675A-C682-93C0-C8E8-9753B7FF4DF1}"/>
              </a:ext>
            </a:extLst>
          </p:cNvPr>
          <p:cNvPicPr>
            <a:picLocks noChangeAspect="1"/>
          </p:cNvPicPr>
          <p:nvPr/>
        </p:nvPicPr>
        <p:blipFill>
          <a:blip r:embed="rId51"/>
          <a:stretch>
            <a:fillRect/>
          </a:stretch>
        </p:blipFill>
        <p:spPr>
          <a:xfrm>
            <a:off x="5956978" y="1717846"/>
            <a:ext cx="308392" cy="308392"/>
          </a:xfrm>
          <a:prstGeom prst="rect">
            <a:avLst/>
          </a:prstGeom>
        </p:spPr>
      </p:pic>
      <p:pic>
        <p:nvPicPr>
          <p:cNvPr id="120" name="Imagen 119">
            <a:extLst>
              <a:ext uri="{FF2B5EF4-FFF2-40B4-BE49-F238E27FC236}">
                <a16:creationId xmlns:a16="http://schemas.microsoft.com/office/drawing/2014/main" id="{0441408E-D2CA-979B-1139-CC12A6F6C45D}"/>
              </a:ext>
            </a:extLst>
          </p:cNvPr>
          <p:cNvPicPr>
            <a:picLocks noChangeAspect="1"/>
          </p:cNvPicPr>
          <p:nvPr/>
        </p:nvPicPr>
        <p:blipFill>
          <a:blip r:embed="rId52"/>
          <a:stretch>
            <a:fillRect/>
          </a:stretch>
        </p:blipFill>
        <p:spPr>
          <a:xfrm>
            <a:off x="6596347" y="1801223"/>
            <a:ext cx="352448" cy="211469"/>
          </a:xfrm>
          <a:prstGeom prst="rect">
            <a:avLst/>
          </a:prstGeom>
        </p:spPr>
      </p:pic>
      <p:pic>
        <p:nvPicPr>
          <p:cNvPr id="121" name="Imagen 120">
            <a:extLst>
              <a:ext uri="{FF2B5EF4-FFF2-40B4-BE49-F238E27FC236}">
                <a16:creationId xmlns:a16="http://schemas.microsoft.com/office/drawing/2014/main" id="{4B5A5543-C9FF-2891-3963-D54700A8D5A0}"/>
              </a:ext>
            </a:extLst>
          </p:cNvPr>
          <p:cNvPicPr>
            <a:picLocks noChangeAspect="1"/>
          </p:cNvPicPr>
          <p:nvPr/>
        </p:nvPicPr>
        <p:blipFill>
          <a:blip r:embed="rId53"/>
          <a:stretch>
            <a:fillRect/>
          </a:stretch>
        </p:blipFill>
        <p:spPr>
          <a:xfrm>
            <a:off x="7283401" y="1774150"/>
            <a:ext cx="246714" cy="246713"/>
          </a:xfrm>
          <a:prstGeom prst="rect">
            <a:avLst/>
          </a:prstGeom>
        </p:spPr>
      </p:pic>
      <p:pic>
        <p:nvPicPr>
          <p:cNvPr id="122" name="Imagen 121">
            <a:extLst>
              <a:ext uri="{FF2B5EF4-FFF2-40B4-BE49-F238E27FC236}">
                <a16:creationId xmlns:a16="http://schemas.microsoft.com/office/drawing/2014/main" id="{0ABA9013-F1BE-1D48-FB0F-7D1CBBD3323E}"/>
              </a:ext>
            </a:extLst>
          </p:cNvPr>
          <p:cNvPicPr>
            <a:picLocks noChangeAspect="1"/>
          </p:cNvPicPr>
          <p:nvPr/>
        </p:nvPicPr>
        <p:blipFill>
          <a:blip r:embed="rId54"/>
          <a:stretch>
            <a:fillRect/>
          </a:stretch>
        </p:blipFill>
        <p:spPr>
          <a:xfrm>
            <a:off x="7905183" y="1716895"/>
            <a:ext cx="255525" cy="281958"/>
          </a:xfrm>
          <a:prstGeom prst="rect">
            <a:avLst/>
          </a:prstGeom>
        </p:spPr>
      </p:pic>
      <p:pic>
        <p:nvPicPr>
          <p:cNvPr id="123" name="Imagen 122">
            <a:extLst>
              <a:ext uri="{FF2B5EF4-FFF2-40B4-BE49-F238E27FC236}">
                <a16:creationId xmlns:a16="http://schemas.microsoft.com/office/drawing/2014/main" id="{4012D56F-18EC-0A5C-52D3-B41F4C4BD766}"/>
              </a:ext>
            </a:extLst>
          </p:cNvPr>
          <p:cNvPicPr>
            <a:picLocks noChangeAspect="1"/>
          </p:cNvPicPr>
          <p:nvPr/>
        </p:nvPicPr>
        <p:blipFill>
          <a:blip r:embed="rId55"/>
          <a:stretch>
            <a:fillRect/>
          </a:stretch>
        </p:blipFill>
        <p:spPr>
          <a:xfrm>
            <a:off x="8537826" y="1747717"/>
            <a:ext cx="326014" cy="326014"/>
          </a:xfrm>
          <a:prstGeom prst="rect">
            <a:avLst/>
          </a:prstGeom>
        </p:spPr>
      </p:pic>
    </p:spTree>
    <p:extLst>
      <p:ext uri="{BB962C8B-B14F-4D97-AF65-F5344CB8AC3E}">
        <p14:creationId xmlns:p14="http://schemas.microsoft.com/office/powerpoint/2010/main" val="24971199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A45B1-B5CB-46C4-8994-65910F7BE4C1}"/>
            </a:ext>
          </a:extLst>
        </p:cNvPr>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36D56B2A-1E4B-9D3F-C4D7-2F2BEA5ADF0C}"/>
              </a:ext>
            </a:extLst>
          </p:cNvPr>
          <p:cNvSpPr>
            <a:spLocks noGrp="1"/>
          </p:cNvSpPr>
          <p:nvPr>
            <p:ph type="ftr" sz="quarter" idx="11"/>
          </p:nvPr>
        </p:nvSpPr>
        <p:spPr/>
        <p:txBody>
          <a:bodyPr/>
          <a:lstStyle/>
          <a:p>
            <a:r>
              <a:rPr lang="en-US">
                <a:sym typeface="Century Gothic" panose="020B0502020202020204" pitchFamily="34" charset="0"/>
              </a:rPr>
              <a:t>Proprietary Information - Confidential</a:t>
            </a:r>
          </a:p>
        </p:txBody>
      </p:sp>
      <p:sp>
        <p:nvSpPr>
          <p:cNvPr id="3" name="Marcador de número de diapositiva 2">
            <a:extLst>
              <a:ext uri="{FF2B5EF4-FFF2-40B4-BE49-F238E27FC236}">
                <a16:creationId xmlns:a16="http://schemas.microsoft.com/office/drawing/2014/main" id="{BDCE3E6A-A50E-35AA-0033-5CFA328DF394}"/>
              </a:ext>
            </a:extLst>
          </p:cNvPr>
          <p:cNvSpPr>
            <a:spLocks noGrp="1"/>
          </p:cNvSpPr>
          <p:nvPr>
            <p:ph type="sldNum" sz="quarter" idx="12"/>
          </p:nvPr>
        </p:nvSpPr>
        <p:spPr/>
        <p:txBody>
          <a:bodyPr/>
          <a:lstStyle/>
          <a:p>
            <a:fld id="{FF2CED2D-DE01-CB40-AEF5-C9DD7CD06225}" type="slidenum">
              <a:rPr lang="es-ES" smtClean="0"/>
              <a:pPr/>
              <a:t>61</a:t>
            </a:fld>
            <a:endParaRPr lang="es-ES"/>
          </a:p>
        </p:txBody>
      </p:sp>
      <p:sp>
        <p:nvSpPr>
          <p:cNvPr id="69" name="Rectángulo 68">
            <a:extLst>
              <a:ext uri="{FF2B5EF4-FFF2-40B4-BE49-F238E27FC236}">
                <a16:creationId xmlns:a16="http://schemas.microsoft.com/office/drawing/2014/main" id="{3E8EAFB8-006B-322D-FC90-A0DB1BE889CC}"/>
              </a:ext>
            </a:extLst>
          </p:cNvPr>
          <p:cNvSpPr/>
          <p:nvPr/>
        </p:nvSpPr>
        <p:spPr>
          <a:xfrm>
            <a:off x="-203200" y="4499801"/>
            <a:ext cx="12485511" cy="251059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Elipse 3">
            <a:extLst>
              <a:ext uri="{FF2B5EF4-FFF2-40B4-BE49-F238E27FC236}">
                <a16:creationId xmlns:a16="http://schemas.microsoft.com/office/drawing/2014/main" id="{69C9E23D-0542-D8E0-8EE5-DFC2E549DC3C}"/>
              </a:ext>
            </a:extLst>
          </p:cNvPr>
          <p:cNvSpPr/>
          <p:nvPr/>
        </p:nvSpPr>
        <p:spPr>
          <a:xfrm>
            <a:off x="5864888"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 name="Elipse 4">
            <a:extLst>
              <a:ext uri="{FF2B5EF4-FFF2-40B4-BE49-F238E27FC236}">
                <a16:creationId xmlns:a16="http://schemas.microsoft.com/office/drawing/2014/main" id="{9A7FC93C-A35C-928B-8EBC-E0A66F65DB43}"/>
              </a:ext>
            </a:extLst>
          </p:cNvPr>
          <p:cNvSpPr/>
          <p:nvPr/>
        </p:nvSpPr>
        <p:spPr>
          <a:xfrm>
            <a:off x="6516954"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 name="Elipse 20">
            <a:extLst>
              <a:ext uri="{FF2B5EF4-FFF2-40B4-BE49-F238E27FC236}">
                <a16:creationId xmlns:a16="http://schemas.microsoft.com/office/drawing/2014/main" id="{0FF04567-B819-5EED-F207-E0034A377514}"/>
              </a:ext>
            </a:extLst>
          </p:cNvPr>
          <p:cNvSpPr/>
          <p:nvPr/>
        </p:nvSpPr>
        <p:spPr>
          <a:xfrm>
            <a:off x="7152980"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2" name="Elipse 21">
            <a:extLst>
              <a:ext uri="{FF2B5EF4-FFF2-40B4-BE49-F238E27FC236}">
                <a16:creationId xmlns:a16="http://schemas.microsoft.com/office/drawing/2014/main" id="{5152BC46-B53E-4730-42F8-977C1B87486E}"/>
              </a:ext>
            </a:extLst>
          </p:cNvPr>
          <p:cNvSpPr/>
          <p:nvPr/>
        </p:nvSpPr>
        <p:spPr>
          <a:xfrm>
            <a:off x="7789005"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3" name="Elipse 22">
            <a:extLst>
              <a:ext uri="{FF2B5EF4-FFF2-40B4-BE49-F238E27FC236}">
                <a16:creationId xmlns:a16="http://schemas.microsoft.com/office/drawing/2014/main" id="{AB468AA4-C292-A58A-9A05-4E45B7AF8E56}"/>
              </a:ext>
            </a:extLst>
          </p:cNvPr>
          <p:cNvSpPr/>
          <p:nvPr/>
        </p:nvSpPr>
        <p:spPr>
          <a:xfrm>
            <a:off x="8425030"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Elipse 23">
            <a:extLst>
              <a:ext uri="{FF2B5EF4-FFF2-40B4-BE49-F238E27FC236}">
                <a16:creationId xmlns:a16="http://schemas.microsoft.com/office/drawing/2014/main" id="{B0D4AD34-F025-628B-B513-F3AE6E1ABFB4}"/>
              </a:ext>
            </a:extLst>
          </p:cNvPr>
          <p:cNvSpPr/>
          <p:nvPr/>
        </p:nvSpPr>
        <p:spPr>
          <a:xfrm>
            <a:off x="3275157"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5" name="Elipse 24">
            <a:extLst>
              <a:ext uri="{FF2B5EF4-FFF2-40B4-BE49-F238E27FC236}">
                <a16:creationId xmlns:a16="http://schemas.microsoft.com/office/drawing/2014/main" id="{AF3B3B66-1098-4F87-7D71-8AB2F904FD31}"/>
              </a:ext>
            </a:extLst>
          </p:cNvPr>
          <p:cNvSpPr/>
          <p:nvPr/>
        </p:nvSpPr>
        <p:spPr>
          <a:xfrm>
            <a:off x="3925835"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6" name="Elipse 25">
            <a:extLst>
              <a:ext uri="{FF2B5EF4-FFF2-40B4-BE49-F238E27FC236}">
                <a16:creationId xmlns:a16="http://schemas.microsoft.com/office/drawing/2014/main" id="{3C2185AA-46EC-EAAD-29BF-CBBD832C3969}"/>
              </a:ext>
            </a:extLst>
          </p:cNvPr>
          <p:cNvSpPr/>
          <p:nvPr/>
        </p:nvSpPr>
        <p:spPr>
          <a:xfrm>
            <a:off x="4572269"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7" name="Elipse 26">
            <a:extLst>
              <a:ext uri="{FF2B5EF4-FFF2-40B4-BE49-F238E27FC236}">
                <a16:creationId xmlns:a16="http://schemas.microsoft.com/office/drawing/2014/main" id="{0463707D-B934-65CA-0FD0-EF52FBD771B1}"/>
              </a:ext>
            </a:extLst>
          </p:cNvPr>
          <p:cNvSpPr/>
          <p:nvPr/>
        </p:nvSpPr>
        <p:spPr>
          <a:xfrm>
            <a:off x="5217425"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8" name="Elipse 27">
            <a:extLst>
              <a:ext uri="{FF2B5EF4-FFF2-40B4-BE49-F238E27FC236}">
                <a16:creationId xmlns:a16="http://schemas.microsoft.com/office/drawing/2014/main" id="{BBA76C08-A919-5EAA-3ED5-3175898C8B33}"/>
              </a:ext>
            </a:extLst>
          </p:cNvPr>
          <p:cNvSpPr/>
          <p:nvPr/>
        </p:nvSpPr>
        <p:spPr>
          <a:xfrm>
            <a:off x="5868291"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9" name="Elipse 28">
            <a:extLst>
              <a:ext uri="{FF2B5EF4-FFF2-40B4-BE49-F238E27FC236}">
                <a16:creationId xmlns:a16="http://schemas.microsoft.com/office/drawing/2014/main" id="{7C183C97-BA5C-DADE-8684-64E6FFC9C719}"/>
              </a:ext>
            </a:extLst>
          </p:cNvPr>
          <p:cNvSpPr/>
          <p:nvPr/>
        </p:nvSpPr>
        <p:spPr>
          <a:xfrm>
            <a:off x="6506698"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0" name="Elipse 29">
            <a:extLst>
              <a:ext uri="{FF2B5EF4-FFF2-40B4-BE49-F238E27FC236}">
                <a16:creationId xmlns:a16="http://schemas.microsoft.com/office/drawing/2014/main" id="{54133021-0628-00B5-D453-DC60B54704BA}"/>
              </a:ext>
            </a:extLst>
          </p:cNvPr>
          <p:cNvSpPr/>
          <p:nvPr/>
        </p:nvSpPr>
        <p:spPr>
          <a:xfrm>
            <a:off x="7152980"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1" name="Elipse 30">
            <a:extLst>
              <a:ext uri="{FF2B5EF4-FFF2-40B4-BE49-F238E27FC236}">
                <a16:creationId xmlns:a16="http://schemas.microsoft.com/office/drawing/2014/main" id="{8227F9A9-8647-434C-F34C-AE1CE46E7AE8}"/>
              </a:ext>
            </a:extLst>
          </p:cNvPr>
          <p:cNvSpPr/>
          <p:nvPr/>
        </p:nvSpPr>
        <p:spPr>
          <a:xfrm>
            <a:off x="7798385"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2" name="Elipse 31">
            <a:extLst>
              <a:ext uri="{FF2B5EF4-FFF2-40B4-BE49-F238E27FC236}">
                <a16:creationId xmlns:a16="http://schemas.microsoft.com/office/drawing/2014/main" id="{795ABD8D-0932-9D02-46C4-67E8804154CE}"/>
              </a:ext>
            </a:extLst>
          </p:cNvPr>
          <p:cNvSpPr/>
          <p:nvPr/>
        </p:nvSpPr>
        <p:spPr>
          <a:xfrm>
            <a:off x="8425030" y="89057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3" name="Elipse 32">
            <a:extLst>
              <a:ext uri="{FF2B5EF4-FFF2-40B4-BE49-F238E27FC236}">
                <a16:creationId xmlns:a16="http://schemas.microsoft.com/office/drawing/2014/main" id="{2F05A076-7E53-E799-0253-C07645A0EFF4}"/>
              </a:ext>
            </a:extLst>
          </p:cNvPr>
          <p:cNvSpPr/>
          <p:nvPr/>
        </p:nvSpPr>
        <p:spPr>
          <a:xfrm>
            <a:off x="8426479"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4" name="Elipse 33">
            <a:extLst>
              <a:ext uri="{FF2B5EF4-FFF2-40B4-BE49-F238E27FC236}">
                <a16:creationId xmlns:a16="http://schemas.microsoft.com/office/drawing/2014/main" id="{0E2C996D-3116-BE4D-DB38-51FC45C6CEDD}"/>
              </a:ext>
            </a:extLst>
          </p:cNvPr>
          <p:cNvSpPr/>
          <p:nvPr/>
        </p:nvSpPr>
        <p:spPr>
          <a:xfrm>
            <a:off x="7789005"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5" name="Elipse 34">
            <a:extLst>
              <a:ext uri="{FF2B5EF4-FFF2-40B4-BE49-F238E27FC236}">
                <a16:creationId xmlns:a16="http://schemas.microsoft.com/office/drawing/2014/main" id="{21CDB6FB-3AFD-4D8C-C796-9E1BC5241FFD}"/>
              </a:ext>
            </a:extLst>
          </p:cNvPr>
          <p:cNvSpPr/>
          <p:nvPr/>
        </p:nvSpPr>
        <p:spPr>
          <a:xfrm>
            <a:off x="7154810"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6" name="Elipse 35">
            <a:extLst>
              <a:ext uri="{FF2B5EF4-FFF2-40B4-BE49-F238E27FC236}">
                <a16:creationId xmlns:a16="http://schemas.microsoft.com/office/drawing/2014/main" id="{CC9B30C7-67E6-0BBA-7D20-838C1C2A705A}"/>
              </a:ext>
            </a:extLst>
          </p:cNvPr>
          <p:cNvSpPr/>
          <p:nvPr/>
        </p:nvSpPr>
        <p:spPr>
          <a:xfrm>
            <a:off x="6518603"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7" name="Elipse 36">
            <a:extLst>
              <a:ext uri="{FF2B5EF4-FFF2-40B4-BE49-F238E27FC236}">
                <a16:creationId xmlns:a16="http://schemas.microsoft.com/office/drawing/2014/main" id="{476CCB56-F785-9746-31A7-D15A085C8D62}"/>
              </a:ext>
            </a:extLst>
          </p:cNvPr>
          <p:cNvSpPr/>
          <p:nvPr/>
        </p:nvSpPr>
        <p:spPr>
          <a:xfrm>
            <a:off x="5871506"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8" name="Elipse 37">
            <a:extLst>
              <a:ext uri="{FF2B5EF4-FFF2-40B4-BE49-F238E27FC236}">
                <a16:creationId xmlns:a16="http://schemas.microsoft.com/office/drawing/2014/main" id="{DA3FF1EC-38E9-53FB-53AE-B21161981B89}"/>
              </a:ext>
            </a:extLst>
          </p:cNvPr>
          <p:cNvSpPr/>
          <p:nvPr/>
        </p:nvSpPr>
        <p:spPr>
          <a:xfrm>
            <a:off x="5218707"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9" name="Elipse 38">
            <a:extLst>
              <a:ext uri="{FF2B5EF4-FFF2-40B4-BE49-F238E27FC236}">
                <a16:creationId xmlns:a16="http://schemas.microsoft.com/office/drawing/2014/main" id="{138EBEF2-F3EA-F1AE-43E2-5EFC0122B7D4}"/>
              </a:ext>
            </a:extLst>
          </p:cNvPr>
          <p:cNvSpPr/>
          <p:nvPr/>
        </p:nvSpPr>
        <p:spPr>
          <a:xfrm>
            <a:off x="4570984"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0" name="Elipse 39">
            <a:extLst>
              <a:ext uri="{FF2B5EF4-FFF2-40B4-BE49-F238E27FC236}">
                <a16:creationId xmlns:a16="http://schemas.microsoft.com/office/drawing/2014/main" id="{0D73B8DE-8C62-B17D-AB08-6A770F7F01BD}"/>
              </a:ext>
            </a:extLst>
          </p:cNvPr>
          <p:cNvSpPr/>
          <p:nvPr/>
        </p:nvSpPr>
        <p:spPr>
          <a:xfrm>
            <a:off x="3921941" y="1539388"/>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1" name="Elipse 40">
            <a:extLst>
              <a:ext uri="{FF2B5EF4-FFF2-40B4-BE49-F238E27FC236}">
                <a16:creationId xmlns:a16="http://schemas.microsoft.com/office/drawing/2014/main" id="{1D25B4ED-071E-121A-F637-4E82D188F031}"/>
              </a:ext>
            </a:extLst>
          </p:cNvPr>
          <p:cNvSpPr/>
          <p:nvPr/>
        </p:nvSpPr>
        <p:spPr>
          <a:xfrm>
            <a:off x="3275157" y="1542209"/>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2" name="Elipse 41">
            <a:extLst>
              <a:ext uri="{FF2B5EF4-FFF2-40B4-BE49-F238E27FC236}">
                <a16:creationId xmlns:a16="http://schemas.microsoft.com/office/drawing/2014/main" id="{ECCF8DF6-8B61-F56F-D802-2F3DD8627D7E}"/>
              </a:ext>
            </a:extLst>
          </p:cNvPr>
          <p:cNvSpPr/>
          <p:nvPr/>
        </p:nvSpPr>
        <p:spPr>
          <a:xfrm>
            <a:off x="5213696" y="180117"/>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3" name="Elipse 42">
            <a:extLst>
              <a:ext uri="{FF2B5EF4-FFF2-40B4-BE49-F238E27FC236}">
                <a16:creationId xmlns:a16="http://schemas.microsoft.com/office/drawing/2014/main" id="{3EDAD3E6-E7DC-2711-9BF6-3C73FBBE26CF}"/>
              </a:ext>
            </a:extLst>
          </p:cNvPr>
          <p:cNvSpPr/>
          <p:nvPr/>
        </p:nvSpPr>
        <p:spPr>
          <a:xfrm>
            <a:off x="4570991" y="187131"/>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4" name="Elipse 43">
            <a:extLst>
              <a:ext uri="{FF2B5EF4-FFF2-40B4-BE49-F238E27FC236}">
                <a16:creationId xmlns:a16="http://schemas.microsoft.com/office/drawing/2014/main" id="{21F2CC4E-407A-0B82-0F76-2A7A7B8E80E7}"/>
              </a:ext>
            </a:extLst>
          </p:cNvPr>
          <p:cNvSpPr/>
          <p:nvPr/>
        </p:nvSpPr>
        <p:spPr>
          <a:xfrm>
            <a:off x="3921941" y="187131"/>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5" name="Elipse 44">
            <a:extLst>
              <a:ext uri="{FF2B5EF4-FFF2-40B4-BE49-F238E27FC236}">
                <a16:creationId xmlns:a16="http://schemas.microsoft.com/office/drawing/2014/main" id="{860DF243-A0B7-5726-55AE-D3CFCE71A0ED}"/>
              </a:ext>
            </a:extLst>
          </p:cNvPr>
          <p:cNvSpPr/>
          <p:nvPr/>
        </p:nvSpPr>
        <p:spPr>
          <a:xfrm>
            <a:off x="3275157" y="187131"/>
            <a:ext cx="490363" cy="486608"/>
          </a:xfrm>
          <a:prstGeom prst="ellipse">
            <a:avLst/>
          </a:prstGeom>
          <a:solidFill>
            <a:srgbClr val="0042ED"/>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46" name="Imagen 45">
            <a:extLst>
              <a:ext uri="{FF2B5EF4-FFF2-40B4-BE49-F238E27FC236}">
                <a16:creationId xmlns:a16="http://schemas.microsoft.com/office/drawing/2014/main" id="{113A3158-2A45-F656-0F74-E02CF4335B31}"/>
              </a:ext>
            </a:extLst>
          </p:cNvPr>
          <p:cNvPicPr>
            <a:picLocks noChangeAspect="1"/>
          </p:cNvPicPr>
          <p:nvPr/>
        </p:nvPicPr>
        <p:blipFill>
          <a:blip r:embed="rId2">
            <a:lum bright="100000"/>
          </a:blip>
          <a:stretch>
            <a:fillRect/>
          </a:stretch>
        </p:blipFill>
        <p:spPr>
          <a:xfrm>
            <a:off x="3361206" y="264064"/>
            <a:ext cx="309608" cy="318714"/>
          </a:xfrm>
          <a:prstGeom prst="rect">
            <a:avLst/>
          </a:prstGeom>
        </p:spPr>
      </p:pic>
      <p:pic>
        <p:nvPicPr>
          <p:cNvPr id="47" name="Imagen 46">
            <a:extLst>
              <a:ext uri="{FF2B5EF4-FFF2-40B4-BE49-F238E27FC236}">
                <a16:creationId xmlns:a16="http://schemas.microsoft.com/office/drawing/2014/main" id="{02B5F40B-51E6-829B-DB24-8E1BD94078A6}"/>
              </a:ext>
            </a:extLst>
          </p:cNvPr>
          <p:cNvPicPr>
            <a:picLocks noChangeAspect="1"/>
          </p:cNvPicPr>
          <p:nvPr/>
        </p:nvPicPr>
        <p:blipFill>
          <a:blip r:embed="rId3">
            <a:lum bright="100000"/>
          </a:blip>
          <a:stretch>
            <a:fillRect/>
          </a:stretch>
        </p:blipFill>
        <p:spPr>
          <a:xfrm>
            <a:off x="4016440" y="296641"/>
            <a:ext cx="318714" cy="264077"/>
          </a:xfrm>
          <a:prstGeom prst="rect">
            <a:avLst/>
          </a:prstGeom>
        </p:spPr>
      </p:pic>
      <p:pic>
        <p:nvPicPr>
          <p:cNvPr id="48" name="Imagen 47">
            <a:extLst>
              <a:ext uri="{FF2B5EF4-FFF2-40B4-BE49-F238E27FC236}">
                <a16:creationId xmlns:a16="http://schemas.microsoft.com/office/drawing/2014/main" id="{6CA45394-5089-58EE-6251-F74B421622DE}"/>
              </a:ext>
            </a:extLst>
          </p:cNvPr>
          <p:cNvPicPr>
            <a:picLocks noChangeAspect="1"/>
          </p:cNvPicPr>
          <p:nvPr/>
        </p:nvPicPr>
        <p:blipFill>
          <a:blip r:embed="rId4">
            <a:lum bright="100000"/>
          </a:blip>
          <a:stretch>
            <a:fillRect/>
          </a:stretch>
        </p:blipFill>
        <p:spPr>
          <a:xfrm>
            <a:off x="4656815" y="275254"/>
            <a:ext cx="318714" cy="318714"/>
          </a:xfrm>
          <a:prstGeom prst="rect">
            <a:avLst/>
          </a:prstGeom>
        </p:spPr>
      </p:pic>
      <p:pic>
        <p:nvPicPr>
          <p:cNvPr id="49" name="Imagen 48">
            <a:extLst>
              <a:ext uri="{FF2B5EF4-FFF2-40B4-BE49-F238E27FC236}">
                <a16:creationId xmlns:a16="http://schemas.microsoft.com/office/drawing/2014/main" id="{02EC422A-8E11-E1B6-5262-6AE04BA5463A}"/>
              </a:ext>
            </a:extLst>
          </p:cNvPr>
          <p:cNvPicPr>
            <a:picLocks noChangeAspect="1"/>
          </p:cNvPicPr>
          <p:nvPr/>
        </p:nvPicPr>
        <p:blipFill>
          <a:blip r:embed="rId5">
            <a:lum bright="100000"/>
          </a:blip>
          <a:stretch>
            <a:fillRect/>
          </a:stretch>
        </p:blipFill>
        <p:spPr>
          <a:xfrm>
            <a:off x="5326240" y="291382"/>
            <a:ext cx="218547" cy="264077"/>
          </a:xfrm>
          <a:prstGeom prst="rect">
            <a:avLst/>
          </a:prstGeom>
        </p:spPr>
      </p:pic>
      <p:pic>
        <p:nvPicPr>
          <p:cNvPr id="50" name="Imagen 49">
            <a:extLst>
              <a:ext uri="{FF2B5EF4-FFF2-40B4-BE49-F238E27FC236}">
                <a16:creationId xmlns:a16="http://schemas.microsoft.com/office/drawing/2014/main" id="{1811BDF5-469D-272C-D726-4C08753FB3D3}"/>
              </a:ext>
            </a:extLst>
          </p:cNvPr>
          <p:cNvPicPr>
            <a:picLocks noChangeAspect="1"/>
          </p:cNvPicPr>
          <p:nvPr/>
        </p:nvPicPr>
        <p:blipFill>
          <a:blip r:embed="rId6">
            <a:lum bright="100000"/>
          </a:blip>
          <a:stretch>
            <a:fillRect/>
          </a:stretch>
        </p:blipFill>
        <p:spPr>
          <a:xfrm>
            <a:off x="5950235" y="250017"/>
            <a:ext cx="336926" cy="336926"/>
          </a:xfrm>
          <a:prstGeom prst="rect">
            <a:avLst/>
          </a:prstGeom>
        </p:spPr>
      </p:pic>
      <p:pic>
        <p:nvPicPr>
          <p:cNvPr id="51" name="Imagen 50">
            <a:extLst>
              <a:ext uri="{FF2B5EF4-FFF2-40B4-BE49-F238E27FC236}">
                <a16:creationId xmlns:a16="http://schemas.microsoft.com/office/drawing/2014/main" id="{F70C9CC2-9B66-9B12-48B3-233931B10EC7}"/>
              </a:ext>
            </a:extLst>
          </p:cNvPr>
          <p:cNvPicPr>
            <a:picLocks noChangeAspect="1"/>
          </p:cNvPicPr>
          <p:nvPr/>
        </p:nvPicPr>
        <p:blipFill>
          <a:blip r:embed="rId7">
            <a:lum bright="100000"/>
          </a:blip>
          <a:stretch>
            <a:fillRect/>
          </a:stretch>
        </p:blipFill>
        <p:spPr>
          <a:xfrm>
            <a:off x="6624603" y="271179"/>
            <a:ext cx="282289" cy="282289"/>
          </a:xfrm>
          <a:prstGeom prst="rect">
            <a:avLst/>
          </a:prstGeom>
        </p:spPr>
      </p:pic>
      <p:pic>
        <p:nvPicPr>
          <p:cNvPr id="52" name="Imagen 51">
            <a:extLst>
              <a:ext uri="{FF2B5EF4-FFF2-40B4-BE49-F238E27FC236}">
                <a16:creationId xmlns:a16="http://schemas.microsoft.com/office/drawing/2014/main" id="{E5F89C28-7BAE-B06E-A028-2F336EEF33C4}"/>
              </a:ext>
            </a:extLst>
          </p:cNvPr>
          <p:cNvPicPr>
            <a:picLocks noChangeAspect="1"/>
          </p:cNvPicPr>
          <p:nvPr/>
        </p:nvPicPr>
        <p:blipFill>
          <a:blip r:embed="rId8">
            <a:lum bright="100000"/>
          </a:blip>
          <a:stretch>
            <a:fillRect/>
          </a:stretch>
        </p:blipFill>
        <p:spPr>
          <a:xfrm>
            <a:off x="7236754" y="240911"/>
            <a:ext cx="318714" cy="318714"/>
          </a:xfrm>
          <a:prstGeom prst="rect">
            <a:avLst/>
          </a:prstGeom>
        </p:spPr>
      </p:pic>
      <p:pic>
        <p:nvPicPr>
          <p:cNvPr id="53" name="Imagen 52">
            <a:extLst>
              <a:ext uri="{FF2B5EF4-FFF2-40B4-BE49-F238E27FC236}">
                <a16:creationId xmlns:a16="http://schemas.microsoft.com/office/drawing/2014/main" id="{73374DFA-749A-346E-5F97-35942999282C}"/>
              </a:ext>
            </a:extLst>
          </p:cNvPr>
          <p:cNvPicPr>
            <a:picLocks noChangeAspect="1"/>
          </p:cNvPicPr>
          <p:nvPr/>
        </p:nvPicPr>
        <p:blipFill>
          <a:blip r:embed="rId9">
            <a:lum bright="100000"/>
          </a:blip>
          <a:stretch>
            <a:fillRect/>
          </a:stretch>
        </p:blipFill>
        <p:spPr>
          <a:xfrm>
            <a:off x="7884781" y="236486"/>
            <a:ext cx="309608" cy="346032"/>
          </a:xfrm>
          <a:prstGeom prst="rect">
            <a:avLst/>
          </a:prstGeom>
        </p:spPr>
      </p:pic>
      <p:pic>
        <p:nvPicPr>
          <p:cNvPr id="54" name="Imagen 53">
            <a:extLst>
              <a:ext uri="{FF2B5EF4-FFF2-40B4-BE49-F238E27FC236}">
                <a16:creationId xmlns:a16="http://schemas.microsoft.com/office/drawing/2014/main" id="{6CB3B5C6-6017-94F4-D23E-64701A7CBB4A}"/>
              </a:ext>
            </a:extLst>
          </p:cNvPr>
          <p:cNvPicPr>
            <a:picLocks noChangeAspect="1"/>
          </p:cNvPicPr>
          <p:nvPr/>
        </p:nvPicPr>
        <p:blipFill>
          <a:blip r:embed="rId10">
            <a:lum bright="100000"/>
          </a:blip>
          <a:stretch>
            <a:fillRect/>
          </a:stretch>
        </p:blipFill>
        <p:spPr>
          <a:xfrm>
            <a:off x="8514593" y="300617"/>
            <a:ext cx="318714" cy="227653"/>
          </a:xfrm>
          <a:prstGeom prst="rect">
            <a:avLst/>
          </a:prstGeom>
        </p:spPr>
      </p:pic>
      <p:pic>
        <p:nvPicPr>
          <p:cNvPr id="55" name="Imagen 54">
            <a:extLst>
              <a:ext uri="{FF2B5EF4-FFF2-40B4-BE49-F238E27FC236}">
                <a16:creationId xmlns:a16="http://schemas.microsoft.com/office/drawing/2014/main" id="{B8EEE81B-1856-0866-1E97-EFA2EE665306}"/>
              </a:ext>
            </a:extLst>
          </p:cNvPr>
          <p:cNvPicPr>
            <a:picLocks noChangeAspect="1"/>
          </p:cNvPicPr>
          <p:nvPr/>
        </p:nvPicPr>
        <p:blipFill>
          <a:blip r:embed="rId11">
            <a:lum bright="100000"/>
          </a:blip>
          <a:stretch>
            <a:fillRect/>
          </a:stretch>
        </p:blipFill>
        <p:spPr>
          <a:xfrm>
            <a:off x="3385446" y="984988"/>
            <a:ext cx="282289" cy="282289"/>
          </a:xfrm>
          <a:prstGeom prst="rect">
            <a:avLst/>
          </a:prstGeom>
        </p:spPr>
      </p:pic>
      <p:pic>
        <p:nvPicPr>
          <p:cNvPr id="56" name="Imagen 55">
            <a:extLst>
              <a:ext uri="{FF2B5EF4-FFF2-40B4-BE49-F238E27FC236}">
                <a16:creationId xmlns:a16="http://schemas.microsoft.com/office/drawing/2014/main" id="{F7A2F282-616D-FFC5-4F33-74E0562867E5}"/>
              </a:ext>
            </a:extLst>
          </p:cNvPr>
          <p:cNvPicPr>
            <a:picLocks noChangeAspect="1"/>
          </p:cNvPicPr>
          <p:nvPr/>
        </p:nvPicPr>
        <p:blipFill>
          <a:blip r:embed="rId12">
            <a:lum bright="100000"/>
          </a:blip>
          <a:stretch>
            <a:fillRect/>
          </a:stretch>
        </p:blipFill>
        <p:spPr>
          <a:xfrm>
            <a:off x="4025978" y="981910"/>
            <a:ext cx="282289" cy="282289"/>
          </a:xfrm>
          <a:prstGeom prst="rect">
            <a:avLst/>
          </a:prstGeom>
        </p:spPr>
      </p:pic>
      <p:pic>
        <p:nvPicPr>
          <p:cNvPr id="124" name="Imagen 123">
            <a:extLst>
              <a:ext uri="{FF2B5EF4-FFF2-40B4-BE49-F238E27FC236}">
                <a16:creationId xmlns:a16="http://schemas.microsoft.com/office/drawing/2014/main" id="{48867281-D8B8-9B81-481C-4F0D6DC5AFC6}"/>
              </a:ext>
            </a:extLst>
          </p:cNvPr>
          <p:cNvPicPr>
            <a:picLocks noChangeAspect="1"/>
          </p:cNvPicPr>
          <p:nvPr/>
        </p:nvPicPr>
        <p:blipFill>
          <a:blip r:embed="rId13">
            <a:lum bright="100000"/>
          </a:blip>
          <a:stretch>
            <a:fillRect/>
          </a:stretch>
        </p:blipFill>
        <p:spPr>
          <a:xfrm>
            <a:off x="4677132" y="995014"/>
            <a:ext cx="282289" cy="282289"/>
          </a:xfrm>
          <a:prstGeom prst="rect">
            <a:avLst/>
          </a:prstGeom>
        </p:spPr>
      </p:pic>
      <p:pic>
        <p:nvPicPr>
          <p:cNvPr id="125" name="Imagen 124">
            <a:extLst>
              <a:ext uri="{FF2B5EF4-FFF2-40B4-BE49-F238E27FC236}">
                <a16:creationId xmlns:a16="http://schemas.microsoft.com/office/drawing/2014/main" id="{6B59B393-AE2F-72DB-6B41-1C040D486AB8}"/>
              </a:ext>
            </a:extLst>
          </p:cNvPr>
          <p:cNvPicPr>
            <a:picLocks noChangeAspect="1"/>
          </p:cNvPicPr>
          <p:nvPr/>
        </p:nvPicPr>
        <p:blipFill>
          <a:blip r:embed="rId14">
            <a:lum bright="100000"/>
          </a:blip>
          <a:stretch>
            <a:fillRect/>
          </a:stretch>
        </p:blipFill>
        <p:spPr>
          <a:xfrm>
            <a:off x="5313811" y="1013869"/>
            <a:ext cx="309608" cy="264077"/>
          </a:xfrm>
          <a:prstGeom prst="rect">
            <a:avLst/>
          </a:prstGeom>
        </p:spPr>
      </p:pic>
      <p:pic>
        <p:nvPicPr>
          <p:cNvPr id="126" name="Imagen 125">
            <a:extLst>
              <a:ext uri="{FF2B5EF4-FFF2-40B4-BE49-F238E27FC236}">
                <a16:creationId xmlns:a16="http://schemas.microsoft.com/office/drawing/2014/main" id="{03D41D09-48A1-9495-285E-61C14A43ACF5}"/>
              </a:ext>
            </a:extLst>
          </p:cNvPr>
          <p:cNvPicPr>
            <a:picLocks noChangeAspect="1"/>
          </p:cNvPicPr>
          <p:nvPr/>
        </p:nvPicPr>
        <p:blipFill>
          <a:blip r:embed="rId15">
            <a:lum bright="100000"/>
          </a:blip>
          <a:stretch>
            <a:fillRect/>
          </a:stretch>
        </p:blipFill>
        <p:spPr>
          <a:xfrm>
            <a:off x="5980246" y="980232"/>
            <a:ext cx="282289" cy="282289"/>
          </a:xfrm>
          <a:prstGeom prst="rect">
            <a:avLst/>
          </a:prstGeom>
        </p:spPr>
      </p:pic>
      <p:pic>
        <p:nvPicPr>
          <p:cNvPr id="127" name="Imagen 126">
            <a:extLst>
              <a:ext uri="{FF2B5EF4-FFF2-40B4-BE49-F238E27FC236}">
                <a16:creationId xmlns:a16="http://schemas.microsoft.com/office/drawing/2014/main" id="{68CD1E62-BF2E-9464-CF08-2DE5E83FE4A4}"/>
              </a:ext>
            </a:extLst>
          </p:cNvPr>
          <p:cNvPicPr>
            <a:picLocks noChangeAspect="1"/>
          </p:cNvPicPr>
          <p:nvPr/>
        </p:nvPicPr>
        <p:blipFill>
          <a:blip r:embed="rId16">
            <a:lum bright="100000"/>
          </a:blip>
          <a:stretch>
            <a:fillRect/>
          </a:stretch>
        </p:blipFill>
        <p:spPr>
          <a:xfrm>
            <a:off x="6606760" y="989467"/>
            <a:ext cx="291395" cy="291395"/>
          </a:xfrm>
          <a:prstGeom prst="rect">
            <a:avLst/>
          </a:prstGeom>
        </p:spPr>
      </p:pic>
      <p:pic>
        <p:nvPicPr>
          <p:cNvPr id="128" name="Imagen 127">
            <a:extLst>
              <a:ext uri="{FF2B5EF4-FFF2-40B4-BE49-F238E27FC236}">
                <a16:creationId xmlns:a16="http://schemas.microsoft.com/office/drawing/2014/main" id="{09ABBA67-C8A2-8D6F-2261-4108012A3EB4}"/>
              </a:ext>
            </a:extLst>
          </p:cNvPr>
          <p:cNvPicPr>
            <a:picLocks noChangeAspect="1"/>
          </p:cNvPicPr>
          <p:nvPr/>
        </p:nvPicPr>
        <p:blipFill>
          <a:blip r:embed="rId17">
            <a:lum bright="100000"/>
          </a:blip>
          <a:stretch>
            <a:fillRect/>
          </a:stretch>
        </p:blipFill>
        <p:spPr>
          <a:xfrm>
            <a:off x="7252079" y="1001779"/>
            <a:ext cx="291395" cy="273183"/>
          </a:xfrm>
          <a:prstGeom prst="rect">
            <a:avLst/>
          </a:prstGeom>
        </p:spPr>
      </p:pic>
      <p:pic>
        <p:nvPicPr>
          <p:cNvPr id="129" name="Imagen 128">
            <a:extLst>
              <a:ext uri="{FF2B5EF4-FFF2-40B4-BE49-F238E27FC236}">
                <a16:creationId xmlns:a16="http://schemas.microsoft.com/office/drawing/2014/main" id="{41B95799-1FA2-3772-ED32-D6B16DD9DF75}"/>
              </a:ext>
            </a:extLst>
          </p:cNvPr>
          <p:cNvPicPr>
            <a:picLocks noChangeAspect="1"/>
          </p:cNvPicPr>
          <p:nvPr/>
        </p:nvPicPr>
        <p:blipFill>
          <a:blip r:embed="rId18">
            <a:lum bright="100000"/>
          </a:blip>
          <a:stretch>
            <a:fillRect/>
          </a:stretch>
        </p:blipFill>
        <p:spPr>
          <a:xfrm>
            <a:off x="7872883" y="962277"/>
            <a:ext cx="346032" cy="346032"/>
          </a:xfrm>
          <a:prstGeom prst="rect">
            <a:avLst/>
          </a:prstGeom>
        </p:spPr>
      </p:pic>
      <p:pic>
        <p:nvPicPr>
          <p:cNvPr id="130" name="Imagen 129">
            <a:extLst>
              <a:ext uri="{FF2B5EF4-FFF2-40B4-BE49-F238E27FC236}">
                <a16:creationId xmlns:a16="http://schemas.microsoft.com/office/drawing/2014/main" id="{A0A7C5E3-8A63-FE6C-CD60-BD83CE33913D}"/>
              </a:ext>
            </a:extLst>
          </p:cNvPr>
          <p:cNvPicPr>
            <a:picLocks noChangeAspect="1"/>
          </p:cNvPicPr>
          <p:nvPr/>
        </p:nvPicPr>
        <p:blipFill>
          <a:blip r:embed="rId19">
            <a:lum bright="100000"/>
          </a:blip>
          <a:stretch>
            <a:fillRect/>
          </a:stretch>
        </p:blipFill>
        <p:spPr>
          <a:xfrm>
            <a:off x="8537826" y="1000620"/>
            <a:ext cx="264077" cy="264077"/>
          </a:xfrm>
          <a:prstGeom prst="rect">
            <a:avLst/>
          </a:prstGeom>
        </p:spPr>
      </p:pic>
      <p:pic>
        <p:nvPicPr>
          <p:cNvPr id="131" name="Imagen 130">
            <a:extLst>
              <a:ext uri="{FF2B5EF4-FFF2-40B4-BE49-F238E27FC236}">
                <a16:creationId xmlns:a16="http://schemas.microsoft.com/office/drawing/2014/main" id="{B9941A79-D5DD-AD7A-0F55-46632C3C2D63}"/>
              </a:ext>
            </a:extLst>
          </p:cNvPr>
          <p:cNvPicPr>
            <a:picLocks noChangeAspect="1"/>
          </p:cNvPicPr>
          <p:nvPr/>
        </p:nvPicPr>
        <p:blipFill>
          <a:blip r:embed="rId20">
            <a:lum bright="100000" contrast="100000"/>
          </a:blip>
          <a:stretch>
            <a:fillRect/>
          </a:stretch>
        </p:blipFill>
        <p:spPr>
          <a:xfrm>
            <a:off x="3373134" y="1693995"/>
            <a:ext cx="318714" cy="182122"/>
          </a:xfrm>
          <a:prstGeom prst="rect">
            <a:avLst/>
          </a:prstGeom>
        </p:spPr>
      </p:pic>
      <p:pic>
        <p:nvPicPr>
          <p:cNvPr id="132" name="Imagen 131">
            <a:extLst>
              <a:ext uri="{FF2B5EF4-FFF2-40B4-BE49-F238E27FC236}">
                <a16:creationId xmlns:a16="http://schemas.microsoft.com/office/drawing/2014/main" id="{2ADA7801-2A94-A03F-2C66-6B73F9ADCCA9}"/>
              </a:ext>
            </a:extLst>
          </p:cNvPr>
          <p:cNvPicPr>
            <a:picLocks noChangeAspect="1"/>
          </p:cNvPicPr>
          <p:nvPr/>
        </p:nvPicPr>
        <p:blipFill>
          <a:blip r:embed="rId21">
            <a:lum bright="100000"/>
          </a:blip>
          <a:stretch>
            <a:fillRect/>
          </a:stretch>
        </p:blipFill>
        <p:spPr>
          <a:xfrm>
            <a:off x="5313811" y="1644084"/>
            <a:ext cx="309608" cy="309608"/>
          </a:xfrm>
          <a:prstGeom prst="rect">
            <a:avLst/>
          </a:prstGeom>
        </p:spPr>
      </p:pic>
      <p:pic>
        <p:nvPicPr>
          <p:cNvPr id="133" name="Imagen 132">
            <a:extLst>
              <a:ext uri="{FF2B5EF4-FFF2-40B4-BE49-F238E27FC236}">
                <a16:creationId xmlns:a16="http://schemas.microsoft.com/office/drawing/2014/main" id="{520B98E1-45BE-5322-08AA-DE081AC59281}"/>
              </a:ext>
            </a:extLst>
          </p:cNvPr>
          <p:cNvPicPr>
            <a:picLocks noChangeAspect="1"/>
          </p:cNvPicPr>
          <p:nvPr/>
        </p:nvPicPr>
        <p:blipFill>
          <a:blip r:embed="rId22">
            <a:lum bright="100000"/>
          </a:blip>
          <a:stretch>
            <a:fillRect/>
          </a:stretch>
        </p:blipFill>
        <p:spPr>
          <a:xfrm>
            <a:off x="5960489" y="1614097"/>
            <a:ext cx="318714" cy="318714"/>
          </a:xfrm>
          <a:prstGeom prst="rect">
            <a:avLst/>
          </a:prstGeom>
        </p:spPr>
      </p:pic>
      <p:pic>
        <p:nvPicPr>
          <p:cNvPr id="134" name="Imagen 133">
            <a:extLst>
              <a:ext uri="{FF2B5EF4-FFF2-40B4-BE49-F238E27FC236}">
                <a16:creationId xmlns:a16="http://schemas.microsoft.com/office/drawing/2014/main" id="{22A8E7DE-CCB6-A30A-4FD1-677B7B497B60}"/>
              </a:ext>
            </a:extLst>
          </p:cNvPr>
          <p:cNvPicPr>
            <a:picLocks noChangeAspect="1"/>
          </p:cNvPicPr>
          <p:nvPr/>
        </p:nvPicPr>
        <p:blipFill>
          <a:blip r:embed="rId23">
            <a:lum bright="100000"/>
          </a:blip>
          <a:stretch>
            <a:fillRect/>
          </a:stretch>
        </p:blipFill>
        <p:spPr>
          <a:xfrm>
            <a:off x="6584551" y="1688096"/>
            <a:ext cx="364244" cy="218547"/>
          </a:xfrm>
          <a:prstGeom prst="rect">
            <a:avLst/>
          </a:prstGeom>
        </p:spPr>
      </p:pic>
      <p:pic>
        <p:nvPicPr>
          <p:cNvPr id="135" name="Imagen 134">
            <a:extLst>
              <a:ext uri="{FF2B5EF4-FFF2-40B4-BE49-F238E27FC236}">
                <a16:creationId xmlns:a16="http://schemas.microsoft.com/office/drawing/2014/main" id="{3A7BEBAF-9649-0C01-A96F-B16D3BEABDE5}"/>
              </a:ext>
            </a:extLst>
          </p:cNvPr>
          <p:cNvPicPr>
            <a:picLocks noChangeAspect="1"/>
          </p:cNvPicPr>
          <p:nvPr/>
        </p:nvPicPr>
        <p:blipFill>
          <a:blip r:embed="rId24">
            <a:lum bright="100000"/>
          </a:blip>
          <a:stretch>
            <a:fillRect/>
          </a:stretch>
        </p:blipFill>
        <p:spPr>
          <a:xfrm>
            <a:off x="7889451" y="1614990"/>
            <a:ext cx="264077" cy="291395"/>
          </a:xfrm>
          <a:prstGeom prst="rect">
            <a:avLst/>
          </a:prstGeom>
        </p:spPr>
      </p:pic>
      <p:pic>
        <p:nvPicPr>
          <p:cNvPr id="136" name="Imagen 135">
            <a:extLst>
              <a:ext uri="{FF2B5EF4-FFF2-40B4-BE49-F238E27FC236}">
                <a16:creationId xmlns:a16="http://schemas.microsoft.com/office/drawing/2014/main" id="{2526CA72-CD33-FB17-B647-7DECA7E533E1}"/>
              </a:ext>
            </a:extLst>
          </p:cNvPr>
          <p:cNvPicPr>
            <a:picLocks noChangeAspect="1"/>
          </p:cNvPicPr>
          <p:nvPr/>
        </p:nvPicPr>
        <p:blipFill>
          <a:blip r:embed="rId25">
            <a:lum bright="100000"/>
          </a:blip>
          <a:stretch>
            <a:fillRect/>
          </a:stretch>
        </p:blipFill>
        <p:spPr>
          <a:xfrm>
            <a:off x="8521811" y="1636581"/>
            <a:ext cx="336926" cy="336926"/>
          </a:xfrm>
          <a:prstGeom prst="rect">
            <a:avLst/>
          </a:prstGeom>
        </p:spPr>
      </p:pic>
      <p:pic>
        <p:nvPicPr>
          <p:cNvPr id="137" name="Imagen 136">
            <a:extLst>
              <a:ext uri="{FF2B5EF4-FFF2-40B4-BE49-F238E27FC236}">
                <a16:creationId xmlns:a16="http://schemas.microsoft.com/office/drawing/2014/main" id="{23621778-CA1B-DCAC-DB4E-BB46C8557B22}"/>
              </a:ext>
            </a:extLst>
          </p:cNvPr>
          <p:cNvPicPr>
            <a:picLocks noChangeAspect="1"/>
          </p:cNvPicPr>
          <p:nvPr/>
        </p:nvPicPr>
        <p:blipFill>
          <a:blip r:embed="rId26">
            <a:lum bright="100000"/>
          </a:blip>
          <a:stretch>
            <a:fillRect/>
          </a:stretch>
        </p:blipFill>
        <p:spPr>
          <a:xfrm>
            <a:off x="4647255" y="1675783"/>
            <a:ext cx="318714" cy="200334"/>
          </a:xfrm>
          <a:prstGeom prst="rect">
            <a:avLst/>
          </a:prstGeom>
        </p:spPr>
      </p:pic>
      <p:pic>
        <p:nvPicPr>
          <p:cNvPr id="138" name="Imagen 137">
            <a:extLst>
              <a:ext uri="{FF2B5EF4-FFF2-40B4-BE49-F238E27FC236}">
                <a16:creationId xmlns:a16="http://schemas.microsoft.com/office/drawing/2014/main" id="{08097265-0C70-F66F-E107-80CB3DEE6629}"/>
              </a:ext>
            </a:extLst>
          </p:cNvPr>
          <p:cNvPicPr>
            <a:picLocks noChangeAspect="1"/>
          </p:cNvPicPr>
          <p:nvPr/>
        </p:nvPicPr>
        <p:blipFill>
          <a:blip r:embed="rId27">
            <a:lum bright="100000"/>
          </a:blip>
          <a:stretch>
            <a:fillRect/>
          </a:stretch>
        </p:blipFill>
        <p:spPr>
          <a:xfrm>
            <a:off x="4023768" y="1631984"/>
            <a:ext cx="309608" cy="300502"/>
          </a:xfrm>
          <a:prstGeom prst="rect">
            <a:avLst/>
          </a:prstGeom>
        </p:spPr>
      </p:pic>
      <p:pic>
        <p:nvPicPr>
          <p:cNvPr id="139" name="Imagen 138">
            <a:extLst>
              <a:ext uri="{FF2B5EF4-FFF2-40B4-BE49-F238E27FC236}">
                <a16:creationId xmlns:a16="http://schemas.microsoft.com/office/drawing/2014/main" id="{751847B4-8D34-C732-C5C7-A07AFC035E2C}"/>
              </a:ext>
            </a:extLst>
          </p:cNvPr>
          <p:cNvPicPr>
            <a:picLocks noChangeAspect="1"/>
          </p:cNvPicPr>
          <p:nvPr/>
        </p:nvPicPr>
        <p:blipFill>
          <a:blip r:embed="rId28">
            <a:lum bright="100000"/>
          </a:blip>
          <a:stretch>
            <a:fillRect/>
          </a:stretch>
        </p:blipFill>
        <p:spPr>
          <a:xfrm>
            <a:off x="7275144" y="1658281"/>
            <a:ext cx="254971" cy="254971"/>
          </a:xfrm>
          <a:prstGeom prst="rect">
            <a:avLst/>
          </a:prstGeom>
        </p:spPr>
      </p:pic>
      <p:sp>
        <p:nvSpPr>
          <p:cNvPr id="140" name="Elipse 139">
            <a:extLst>
              <a:ext uri="{FF2B5EF4-FFF2-40B4-BE49-F238E27FC236}">
                <a16:creationId xmlns:a16="http://schemas.microsoft.com/office/drawing/2014/main" id="{8ED02539-34E2-6FA4-6986-3958C5F52256}"/>
              </a:ext>
            </a:extLst>
          </p:cNvPr>
          <p:cNvSpPr/>
          <p:nvPr/>
        </p:nvSpPr>
        <p:spPr>
          <a:xfrm>
            <a:off x="5864888"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1" name="Elipse 140">
            <a:extLst>
              <a:ext uri="{FF2B5EF4-FFF2-40B4-BE49-F238E27FC236}">
                <a16:creationId xmlns:a16="http://schemas.microsoft.com/office/drawing/2014/main" id="{43E7F379-260C-57E9-D9E7-19843F867CE6}"/>
              </a:ext>
            </a:extLst>
          </p:cNvPr>
          <p:cNvSpPr/>
          <p:nvPr/>
        </p:nvSpPr>
        <p:spPr>
          <a:xfrm>
            <a:off x="6516954"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2" name="Elipse 141">
            <a:extLst>
              <a:ext uri="{FF2B5EF4-FFF2-40B4-BE49-F238E27FC236}">
                <a16:creationId xmlns:a16="http://schemas.microsoft.com/office/drawing/2014/main" id="{9CDCCD0E-10EE-3A8E-FDB3-6FE1D2FB4928}"/>
              </a:ext>
            </a:extLst>
          </p:cNvPr>
          <p:cNvSpPr/>
          <p:nvPr/>
        </p:nvSpPr>
        <p:spPr>
          <a:xfrm>
            <a:off x="7152980"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3" name="Elipse 142">
            <a:extLst>
              <a:ext uri="{FF2B5EF4-FFF2-40B4-BE49-F238E27FC236}">
                <a16:creationId xmlns:a16="http://schemas.microsoft.com/office/drawing/2014/main" id="{0FD5F876-3E6D-4322-F0F4-789643FB3104}"/>
              </a:ext>
            </a:extLst>
          </p:cNvPr>
          <p:cNvSpPr/>
          <p:nvPr/>
        </p:nvSpPr>
        <p:spPr>
          <a:xfrm>
            <a:off x="7789005"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4" name="Elipse 143">
            <a:extLst>
              <a:ext uri="{FF2B5EF4-FFF2-40B4-BE49-F238E27FC236}">
                <a16:creationId xmlns:a16="http://schemas.microsoft.com/office/drawing/2014/main" id="{AFB83C1D-5C27-D4BA-071E-49D7F8B31AEE}"/>
              </a:ext>
            </a:extLst>
          </p:cNvPr>
          <p:cNvSpPr/>
          <p:nvPr/>
        </p:nvSpPr>
        <p:spPr>
          <a:xfrm>
            <a:off x="8425030"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5" name="Elipse 144">
            <a:extLst>
              <a:ext uri="{FF2B5EF4-FFF2-40B4-BE49-F238E27FC236}">
                <a16:creationId xmlns:a16="http://schemas.microsoft.com/office/drawing/2014/main" id="{68FF067B-A417-343D-3D32-01A48DCBA837}"/>
              </a:ext>
            </a:extLst>
          </p:cNvPr>
          <p:cNvSpPr/>
          <p:nvPr/>
        </p:nvSpPr>
        <p:spPr>
          <a:xfrm>
            <a:off x="3275157"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6" name="Elipse 145">
            <a:extLst>
              <a:ext uri="{FF2B5EF4-FFF2-40B4-BE49-F238E27FC236}">
                <a16:creationId xmlns:a16="http://schemas.microsoft.com/office/drawing/2014/main" id="{14953272-0D94-1191-12A2-430273390971}"/>
              </a:ext>
            </a:extLst>
          </p:cNvPr>
          <p:cNvSpPr/>
          <p:nvPr/>
        </p:nvSpPr>
        <p:spPr>
          <a:xfrm>
            <a:off x="3925835"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7" name="Elipse 146">
            <a:extLst>
              <a:ext uri="{FF2B5EF4-FFF2-40B4-BE49-F238E27FC236}">
                <a16:creationId xmlns:a16="http://schemas.microsoft.com/office/drawing/2014/main" id="{CA004732-5A19-9BEE-0C3E-35395E5E7DD6}"/>
              </a:ext>
            </a:extLst>
          </p:cNvPr>
          <p:cNvSpPr/>
          <p:nvPr/>
        </p:nvSpPr>
        <p:spPr>
          <a:xfrm>
            <a:off x="4572269"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8" name="Elipse 147">
            <a:extLst>
              <a:ext uri="{FF2B5EF4-FFF2-40B4-BE49-F238E27FC236}">
                <a16:creationId xmlns:a16="http://schemas.microsoft.com/office/drawing/2014/main" id="{F8C9A37B-4420-F33E-6380-00D74737FB4F}"/>
              </a:ext>
            </a:extLst>
          </p:cNvPr>
          <p:cNvSpPr/>
          <p:nvPr/>
        </p:nvSpPr>
        <p:spPr>
          <a:xfrm>
            <a:off x="5217425"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49" name="Elipse 148">
            <a:extLst>
              <a:ext uri="{FF2B5EF4-FFF2-40B4-BE49-F238E27FC236}">
                <a16:creationId xmlns:a16="http://schemas.microsoft.com/office/drawing/2014/main" id="{F9CF4198-E065-A195-1B7C-EBBDD26E531C}"/>
              </a:ext>
            </a:extLst>
          </p:cNvPr>
          <p:cNvSpPr/>
          <p:nvPr/>
        </p:nvSpPr>
        <p:spPr>
          <a:xfrm>
            <a:off x="5868291"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0" name="Elipse 149">
            <a:extLst>
              <a:ext uri="{FF2B5EF4-FFF2-40B4-BE49-F238E27FC236}">
                <a16:creationId xmlns:a16="http://schemas.microsoft.com/office/drawing/2014/main" id="{349C9F90-6107-DBCE-B9D5-F630D3475149}"/>
              </a:ext>
            </a:extLst>
          </p:cNvPr>
          <p:cNvSpPr/>
          <p:nvPr/>
        </p:nvSpPr>
        <p:spPr>
          <a:xfrm>
            <a:off x="6506698"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1" name="Elipse 150">
            <a:extLst>
              <a:ext uri="{FF2B5EF4-FFF2-40B4-BE49-F238E27FC236}">
                <a16:creationId xmlns:a16="http://schemas.microsoft.com/office/drawing/2014/main" id="{A8388287-8B60-619D-7D87-E44271D99897}"/>
              </a:ext>
            </a:extLst>
          </p:cNvPr>
          <p:cNvSpPr/>
          <p:nvPr/>
        </p:nvSpPr>
        <p:spPr>
          <a:xfrm>
            <a:off x="7152980"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2" name="Elipse 151">
            <a:extLst>
              <a:ext uri="{FF2B5EF4-FFF2-40B4-BE49-F238E27FC236}">
                <a16:creationId xmlns:a16="http://schemas.microsoft.com/office/drawing/2014/main" id="{CD05A416-FA95-6478-4ED5-581BED6CE629}"/>
              </a:ext>
            </a:extLst>
          </p:cNvPr>
          <p:cNvSpPr/>
          <p:nvPr/>
        </p:nvSpPr>
        <p:spPr>
          <a:xfrm>
            <a:off x="7798385"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3" name="Elipse 152">
            <a:extLst>
              <a:ext uri="{FF2B5EF4-FFF2-40B4-BE49-F238E27FC236}">
                <a16:creationId xmlns:a16="http://schemas.microsoft.com/office/drawing/2014/main" id="{975F3451-59D3-FB74-5B7C-803A7BF0AB09}"/>
              </a:ext>
            </a:extLst>
          </p:cNvPr>
          <p:cNvSpPr/>
          <p:nvPr/>
        </p:nvSpPr>
        <p:spPr>
          <a:xfrm>
            <a:off x="8425030" y="542495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4" name="Elipse 153">
            <a:extLst>
              <a:ext uri="{FF2B5EF4-FFF2-40B4-BE49-F238E27FC236}">
                <a16:creationId xmlns:a16="http://schemas.microsoft.com/office/drawing/2014/main" id="{AE37D265-F629-8FFA-E4AB-6AFB912B93CF}"/>
              </a:ext>
            </a:extLst>
          </p:cNvPr>
          <p:cNvSpPr/>
          <p:nvPr/>
        </p:nvSpPr>
        <p:spPr>
          <a:xfrm>
            <a:off x="8426479"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5" name="Elipse 154">
            <a:extLst>
              <a:ext uri="{FF2B5EF4-FFF2-40B4-BE49-F238E27FC236}">
                <a16:creationId xmlns:a16="http://schemas.microsoft.com/office/drawing/2014/main" id="{3CDA6EE8-AA48-2C63-2BD9-F0C49F333854}"/>
              </a:ext>
            </a:extLst>
          </p:cNvPr>
          <p:cNvSpPr/>
          <p:nvPr/>
        </p:nvSpPr>
        <p:spPr>
          <a:xfrm>
            <a:off x="7789005"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6" name="Elipse 155">
            <a:extLst>
              <a:ext uri="{FF2B5EF4-FFF2-40B4-BE49-F238E27FC236}">
                <a16:creationId xmlns:a16="http://schemas.microsoft.com/office/drawing/2014/main" id="{DC1020D7-FFC4-CB7D-06DE-EF0BDFF21597}"/>
              </a:ext>
            </a:extLst>
          </p:cNvPr>
          <p:cNvSpPr/>
          <p:nvPr/>
        </p:nvSpPr>
        <p:spPr>
          <a:xfrm>
            <a:off x="7154810"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7" name="Elipse 156">
            <a:extLst>
              <a:ext uri="{FF2B5EF4-FFF2-40B4-BE49-F238E27FC236}">
                <a16:creationId xmlns:a16="http://schemas.microsoft.com/office/drawing/2014/main" id="{ED83245A-BAF3-7341-4F88-300730E38F31}"/>
              </a:ext>
            </a:extLst>
          </p:cNvPr>
          <p:cNvSpPr/>
          <p:nvPr/>
        </p:nvSpPr>
        <p:spPr>
          <a:xfrm>
            <a:off x="6518603"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8" name="Elipse 157">
            <a:extLst>
              <a:ext uri="{FF2B5EF4-FFF2-40B4-BE49-F238E27FC236}">
                <a16:creationId xmlns:a16="http://schemas.microsoft.com/office/drawing/2014/main" id="{ED0273DA-A776-77F7-3133-6BCD5F0EAB8F}"/>
              </a:ext>
            </a:extLst>
          </p:cNvPr>
          <p:cNvSpPr/>
          <p:nvPr/>
        </p:nvSpPr>
        <p:spPr>
          <a:xfrm>
            <a:off x="5871506"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9" name="Elipse 158">
            <a:extLst>
              <a:ext uri="{FF2B5EF4-FFF2-40B4-BE49-F238E27FC236}">
                <a16:creationId xmlns:a16="http://schemas.microsoft.com/office/drawing/2014/main" id="{9DC08E60-5AF2-CD10-9794-CDC0694F0781}"/>
              </a:ext>
            </a:extLst>
          </p:cNvPr>
          <p:cNvSpPr/>
          <p:nvPr/>
        </p:nvSpPr>
        <p:spPr>
          <a:xfrm>
            <a:off x="5218707"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0" name="Elipse 159">
            <a:extLst>
              <a:ext uri="{FF2B5EF4-FFF2-40B4-BE49-F238E27FC236}">
                <a16:creationId xmlns:a16="http://schemas.microsoft.com/office/drawing/2014/main" id="{2E6558E2-D9CE-BFA9-9D30-DF3FC9101370}"/>
              </a:ext>
            </a:extLst>
          </p:cNvPr>
          <p:cNvSpPr/>
          <p:nvPr/>
        </p:nvSpPr>
        <p:spPr>
          <a:xfrm>
            <a:off x="4570984"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1" name="Elipse 160">
            <a:extLst>
              <a:ext uri="{FF2B5EF4-FFF2-40B4-BE49-F238E27FC236}">
                <a16:creationId xmlns:a16="http://schemas.microsoft.com/office/drawing/2014/main" id="{26512FA3-582D-D506-6DF2-2761FDDD3725}"/>
              </a:ext>
            </a:extLst>
          </p:cNvPr>
          <p:cNvSpPr/>
          <p:nvPr/>
        </p:nvSpPr>
        <p:spPr>
          <a:xfrm>
            <a:off x="3921941" y="6073760"/>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2" name="Elipse 161">
            <a:extLst>
              <a:ext uri="{FF2B5EF4-FFF2-40B4-BE49-F238E27FC236}">
                <a16:creationId xmlns:a16="http://schemas.microsoft.com/office/drawing/2014/main" id="{96DBE550-68C1-C9F8-BE6C-47BA78055A50}"/>
              </a:ext>
            </a:extLst>
          </p:cNvPr>
          <p:cNvSpPr/>
          <p:nvPr/>
        </p:nvSpPr>
        <p:spPr>
          <a:xfrm>
            <a:off x="3275157" y="6076581"/>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3" name="Elipse 162">
            <a:extLst>
              <a:ext uri="{FF2B5EF4-FFF2-40B4-BE49-F238E27FC236}">
                <a16:creationId xmlns:a16="http://schemas.microsoft.com/office/drawing/2014/main" id="{9FF2DC85-F32A-D926-FC23-BE4C6E5B0626}"/>
              </a:ext>
            </a:extLst>
          </p:cNvPr>
          <p:cNvSpPr/>
          <p:nvPr/>
        </p:nvSpPr>
        <p:spPr>
          <a:xfrm>
            <a:off x="5213696" y="4714489"/>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4" name="Elipse 163">
            <a:extLst>
              <a:ext uri="{FF2B5EF4-FFF2-40B4-BE49-F238E27FC236}">
                <a16:creationId xmlns:a16="http://schemas.microsoft.com/office/drawing/2014/main" id="{9CFD883D-3229-D934-D32E-AA27EA797995}"/>
              </a:ext>
            </a:extLst>
          </p:cNvPr>
          <p:cNvSpPr/>
          <p:nvPr/>
        </p:nvSpPr>
        <p:spPr>
          <a:xfrm>
            <a:off x="4570991" y="4721503"/>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5" name="Elipse 164">
            <a:extLst>
              <a:ext uri="{FF2B5EF4-FFF2-40B4-BE49-F238E27FC236}">
                <a16:creationId xmlns:a16="http://schemas.microsoft.com/office/drawing/2014/main" id="{E953C512-4318-8E95-A050-F06B28663184}"/>
              </a:ext>
            </a:extLst>
          </p:cNvPr>
          <p:cNvSpPr/>
          <p:nvPr/>
        </p:nvSpPr>
        <p:spPr>
          <a:xfrm>
            <a:off x="3921941" y="4721503"/>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66" name="Elipse 165">
            <a:extLst>
              <a:ext uri="{FF2B5EF4-FFF2-40B4-BE49-F238E27FC236}">
                <a16:creationId xmlns:a16="http://schemas.microsoft.com/office/drawing/2014/main" id="{D69BB2A0-4EF0-4399-2EB4-9831FA019029}"/>
              </a:ext>
            </a:extLst>
          </p:cNvPr>
          <p:cNvSpPr/>
          <p:nvPr/>
        </p:nvSpPr>
        <p:spPr>
          <a:xfrm>
            <a:off x="3275157" y="4721503"/>
            <a:ext cx="490363" cy="486608"/>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67" name="Imagen 166">
            <a:extLst>
              <a:ext uri="{FF2B5EF4-FFF2-40B4-BE49-F238E27FC236}">
                <a16:creationId xmlns:a16="http://schemas.microsoft.com/office/drawing/2014/main" id="{6DC5BF18-18DB-AB1E-191C-3000FA8D7440}"/>
              </a:ext>
            </a:extLst>
          </p:cNvPr>
          <p:cNvPicPr>
            <a:picLocks noChangeAspect="1"/>
          </p:cNvPicPr>
          <p:nvPr/>
        </p:nvPicPr>
        <p:blipFill>
          <a:blip r:embed="rId2"/>
          <a:stretch>
            <a:fillRect/>
          </a:stretch>
        </p:blipFill>
        <p:spPr>
          <a:xfrm>
            <a:off x="3361206" y="4798436"/>
            <a:ext cx="309608" cy="318714"/>
          </a:xfrm>
          <a:prstGeom prst="rect">
            <a:avLst/>
          </a:prstGeom>
        </p:spPr>
      </p:pic>
      <p:pic>
        <p:nvPicPr>
          <p:cNvPr id="168" name="Imagen 167">
            <a:extLst>
              <a:ext uri="{FF2B5EF4-FFF2-40B4-BE49-F238E27FC236}">
                <a16:creationId xmlns:a16="http://schemas.microsoft.com/office/drawing/2014/main" id="{1A0023B0-FEB1-D9AB-0237-80AED8276F60}"/>
              </a:ext>
            </a:extLst>
          </p:cNvPr>
          <p:cNvPicPr>
            <a:picLocks noChangeAspect="1"/>
          </p:cNvPicPr>
          <p:nvPr/>
        </p:nvPicPr>
        <p:blipFill>
          <a:blip r:embed="rId3"/>
          <a:stretch>
            <a:fillRect/>
          </a:stretch>
        </p:blipFill>
        <p:spPr>
          <a:xfrm>
            <a:off x="4016440" y="4831013"/>
            <a:ext cx="318714" cy="264077"/>
          </a:xfrm>
          <a:prstGeom prst="rect">
            <a:avLst/>
          </a:prstGeom>
        </p:spPr>
      </p:pic>
      <p:pic>
        <p:nvPicPr>
          <p:cNvPr id="169" name="Imagen 168">
            <a:extLst>
              <a:ext uri="{FF2B5EF4-FFF2-40B4-BE49-F238E27FC236}">
                <a16:creationId xmlns:a16="http://schemas.microsoft.com/office/drawing/2014/main" id="{75F02D8C-8B9B-F4D9-4974-8F0204FCC1E2}"/>
              </a:ext>
            </a:extLst>
          </p:cNvPr>
          <p:cNvPicPr>
            <a:picLocks noChangeAspect="1"/>
          </p:cNvPicPr>
          <p:nvPr/>
        </p:nvPicPr>
        <p:blipFill>
          <a:blip r:embed="rId4"/>
          <a:stretch>
            <a:fillRect/>
          </a:stretch>
        </p:blipFill>
        <p:spPr>
          <a:xfrm>
            <a:off x="4656815" y="4809626"/>
            <a:ext cx="318714" cy="318714"/>
          </a:xfrm>
          <a:prstGeom prst="rect">
            <a:avLst/>
          </a:prstGeom>
        </p:spPr>
      </p:pic>
      <p:pic>
        <p:nvPicPr>
          <p:cNvPr id="170" name="Imagen 169">
            <a:extLst>
              <a:ext uri="{FF2B5EF4-FFF2-40B4-BE49-F238E27FC236}">
                <a16:creationId xmlns:a16="http://schemas.microsoft.com/office/drawing/2014/main" id="{B0B041A4-9EB5-5CD1-A698-73F38AF9F92C}"/>
              </a:ext>
            </a:extLst>
          </p:cNvPr>
          <p:cNvPicPr>
            <a:picLocks noChangeAspect="1"/>
          </p:cNvPicPr>
          <p:nvPr/>
        </p:nvPicPr>
        <p:blipFill>
          <a:blip r:embed="rId5"/>
          <a:stretch>
            <a:fillRect/>
          </a:stretch>
        </p:blipFill>
        <p:spPr>
          <a:xfrm>
            <a:off x="5326240" y="4825754"/>
            <a:ext cx="218547" cy="264077"/>
          </a:xfrm>
          <a:prstGeom prst="rect">
            <a:avLst/>
          </a:prstGeom>
        </p:spPr>
      </p:pic>
      <p:pic>
        <p:nvPicPr>
          <p:cNvPr id="171" name="Imagen 170">
            <a:extLst>
              <a:ext uri="{FF2B5EF4-FFF2-40B4-BE49-F238E27FC236}">
                <a16:creationId xmlns:a16="http://schemas.microsoft.com/office/drawing/2014/main" id="{2D0CD4B4-637A-B0AC-4F97-5DC8A83C2DD4}"/>
              </a:ext>
            </a:extLst>
          </p:cNvPr>
          <p:cNvPicPr>
            <a:picLocks noChangeAspect="1"/>
          </p:cNvPicPr>
          <p:nvPr/>
        </p:nvPicPr>
        <p:blipFill>
          <a:blip r:embed="rId6"/>
          <a:stretch>
            <a:fillRect/>
          </a:stretch>
        </p:blipFill>
        <p:spPr>
          <a:xfrm>
            <a:off x="5950235" y="4784389"/>
            <a:ext cx="336926" cy="336926"/>
          </a:xfrm>
          <a:prstGeom prst="rect">
            <a:avLst/>
          </a:prstGeom>
        </p:spPr>
      </p:pic>
      <p:pic>
        <p:nvPicPr>
          <p:cNvPr id="172" name="Imagen 171">
            <a:extLst>
              <a:ext uri="{FF2B5EF4-FFF2-40B4-BE49-F238E27FC236}">
                <a16:creationId xmlns:a16="http://schemas.microsoft.com/office/drawing/2014/main" id="{07AB5F9A-9A5C-A4AF-A075-F9F3874B6F05}"/>
              </a:ext>
            </a:extLst>
          </p:cNvPr>
          <p:cNvPicPr>
            <a:picLocks noChangeAspect="1"/>
          </p:cNvPicPr>
          <p:nvPr/>
        </p:nvPicPr>
        <p:blipFill>
          <a:blip r:embed="rId7"/>
          <a:stretch>
            <a:fillRect/>
          </a:stretch>
        </p:blipFill>
        <p:spPr>
          <a:xfrm>
            <a:off x="6624603" y="4805551"/>
            <a:ext cx="282289" cy="282289"/>
          </a:xfrm>
          <a:prstGeom prst="rect">
            <a:avLst/>
          </a:prstGeom>
        </p:spPr>
      </p:pic>
      <p:pic>
        <p:nvPicPr>
          <p:cNvPr id="173" name="Imagen 172">
            <a:extLst>
              <a:ext uri="{FF2B5EF4-FFF2-40B4-BE49-F238E27FC236}">
                <a16:creationId xmlns:a16="http://schemas.microsoft.com/office/drawing/2014/main" id="{061BA4B9-4DFA-8FEB-C185-991B5FACCDA9}"/>
              </a:ext>
            </a:extLst>
          </p:cNvPr>
          <p:cNvPicPr>
            <a:picLocks noChangeAspect="1"/>
          </p:cNvPicPr>
          <p:nvPr/>
        </p:nvPicPr>
        <p:blipFill>
          <a:blip r:embed="rId8"/>
          <a:stretch>
            <a:fillRect/>
          </a:stretch>
        </p:blipFill>
        <p:spPr>
          <a:xfrm>
            <a:off x="7236754" y="4775283"/>
            <a:ext cx="318714" cy="318714"/>
          </a:xfrm>
          <a:prstGeom prst="rect">
            <a:avLst/>
          </a:prstGeom>
        </p:spPr>
      </p:pic>
      <p:pic>
        <p:nvPicPr>
          <p:cNvPr id="174" name="Imagen 173">
            <a:extLst>
              <a:ext uri="{FF2B5EF4-FFF2-40B4-BE49-F238E27FC236}">
                <a16:creationId xmlns:a16="http://schemas.microsoft.com/office/drawing/2014/main" id="{52F897ED-9B1A-FA57-1233-F4C0427224E0}"/>
              </a:ext>
            </a:extLst>
          </p:cNvPr>
          <p:cNvPicPr>
            <a:picLocks noChangeAspect="1"/>
          </p:cNvPicPr>
          <p:nvPr/>
        </p:nvPicPr>
        <p:blipFill>
          <a:blip r:embed="rId9"/>
          <a:stretch>
            <a:fillRect/>
          </a:stretch>
        </p:blipFill>
        <p:spPr>
          <a:xfrm>
            <a:off x="7884781" y="4770858"/>
            <a:ext cx="309608" cy="346032"/>
          </a:xfrm>
          <a:prstGeom prst="rect">
            <a:avLst/>
          </a:prstGeom>
        </p:spPr>
      </p:pic>
      <p:pic>
        <p:nvPicPr>
          <p:cNvPr id="175" name="Imagen 174">
            <a:extLst>
              <a:ext uri="{FF2B5EF4-FFF2-40B4-BE49-F238E27FC236}">
                <a16:creationId xmlns:a16="http://schemas.microsoft.com/office/drawing/2014/main" id="{33A6130B-A4FB-A8B1-A18C-A81D0801F5C4}"/>
              </a:ext>
            </a:extLst>
          </p:cNvPr>
          <p:cNvPicPr>
            <a:picLocks noChangeAspect="1"/>
          </p:cNvPicPr>
          <p:nvPr/>
        </p:nvPicPr>
        <p:blipFill>
          <a:blip r:embed="rId10"/>
          <a:stretch>
            <a:fillRect/>
          </a:stretch>
        </p:blipFill>
        <p:spPr>
          <a:xfrm>
            <a:off x="8514593" y="4834989"/>
            <a:ext cx="318714" cy="227653"/>
          </a:xfrm>
          <a:prstGeom prst="rect">
            <a:avLst/>
          </a:prstGeom>
        </p:spPr>
      </p:pic>
      <p:pic>
        <p:nvPicPr>
          <p:cNvPr id="176" name="Imagen 175">
            <a:extLst>
              <a:ext uri="{FF2B5EF4-FFF2-40B4-BE49-F238E27FC236}">
                <a16:creationId xmlns:a16="http://schemas.microsoft.com/office/drawing/2014/main" id="{7F8A3B02-533B-1266-DA5E-290D3A827DF8}"/>
              </a:ext>
            </a:extLst>
          </p:cNvPr>
          <p:cNvPicPr>
            <a:picLocks noChangeAspect="1"/>
          </p:cNvPicPr>
          <p:nvPr/>
        </p:nvPicPr>
        <p:blipFill>
          <a:blip r:embed="rId11"/>
          <a:stretch>
            <a:fillRect/>
          </a:stretch>
        </p:blipFill>
        <p:spPr>
          <a:xfrm>
            <a:off x="3385446" y="5519360"/>
            <a:ext cx="282289" cy="282289"/>
          </a:xfrm>
          <a:prstGeom prst="rect">
            <a:avLst/>
          </a:prstGeom>
        </p:spPr>
      </p:pic>
      <p:pic>
        <p:nvPicPr>
          <p:cNvPr id="177" name="Imagen 176">
            <a:extLst>
              <a:ext uri="{FF2B5EF4-FFF2-40B4-BE49-F238E27FC236}">
                <a16:creationId xmlns:a16="http://schemas.microsoft.com/office/drawing/2014/main" id="{708A40BC-C565-15FB-6E79-1CACBF27EAEE}"/>
              </a:ext>
            </a:extLst>
          </p:cNvPr>
          <p:cNvPicPr>
            <a:picLocks noChangeAspect="1"/>
          </p:cNvPicPr>
          <p:nvPr/>
        </p:nvPicPr>
        <p:blipFill>
          <a:blip r:embed="rId12"/>
          <a:stretch>
            <a:fillRect/>
          </a:stretch>
        </p:blipFill>
        <p:spPr>
          <a:xfrm>
            <a:off x="4025978" y="5516282"/>
            <a:ext cx="282289" cy="282289"/>
          </a:xfrm>
          <a:prstGeom prst="rect">
            <a:avLst/>
          </a:prstGeom>
        </p:spPr>
      </p:pic>
      <p:pic>
        <p:nvPicPr>
          <p:cNvPr id="178" name="Imagen 177">
            <a:extLst>
              <a:ext uri="{FF2B5EF4-FFF2-40B4-BE49-F238E27FC236}">
                <a16:creationId xmlns:a16="http://schemas.microsoft.com/office/drawing/2014/main" id="{55FDF142-E40C-B2F5-821A-D2A35838801A}"/>
              </a:ext>
            </a:extLst>
          </p:cNvPr>
          <p:cNvPicPr>
            <a:picLocks noChangeAspect="1"/>
          </p:cNvPicPr>
          <p:nvPr/>
        </p:nvPicPr>
        <p:blipFill>
          <a:blip r:embed="rId13"/>
          <a:stretch>
            <a:fillRect/>
          </a:stretch>
        </p:blipFill>
        <p:spPr>
          <a:xfrm>
            <a:off x="4677132" y="5529386"/>
            <a:ext cx="282289" cy="282289"/>
          </a:xfrm>
          <a:prstGeom prst="rect">
            <a:avLst/>
          </a:prstGeom>
        </p:spPr>
      </p:pic>
      <p:pic>
        <p:nvPicPr>
          <p:cNvPr id="179" name="Imagen 178">
            <a:extLst>
              <a:ext uri="{FF2B5EF4-FFF2-40B4-BE49-F238E27FC236}">
                <a16:creationId xmlns:a16="http://schemas.microsoft.com/office/drawing/2014/main" id="{14A3B817-9791-F560-211C-65A9B65CF9B2}"/>
              </a:ext>
            </a:extLst>
          </p:cNvPr>
          <p:cNvPicPr>
            <a:picLocks noChangeAspect="1"/>
          </p:cNvPicPr>
          <p:nvPr/>
        </p:nvPicPr>
        <p:blipFill>
          <a:blip r:embed="rId14"/>
          <a:stretch>
            <a:fillRect/>
          </a:stretch>
        </p:blipFill>
        <p:spPr>
          <a:xfrm>
            <a:off x="5313811" y="5548241"/>
            <a:ext cx="309608" cy="264077"/>
          </a:xfrm>
          <a:prstGeom prst="rect">
            <a:avLst/>
          </a:prstGeom>
        </p:spPr>
      </p:pic>
      <p:pic>
        <p:nvPicPr>
          <p:cNvPr id="180" name="Imagen 179">
            <a:extLst>
              <a:ext uri="{FF2B5EF4-FFF2-40B4-BE49-F238E27FC236}">
                <a16:creationId xmlns:a16="http://schemas.microsoft.com/office/drawing/2014/main" id="{8179B855-730D-F080-41E1-989CC1CD741D}"/>
              </a:ext>
            </a:extLst>
          </p:cNvPr>
          <p:cNvPicPr>
            <a:picLocks noChangeAspect="1"/>
          </p:cNvPicPr>
          <p:nvPr/>
        </p:nvPicPr>
        <p:blipFill>
          <a:blip r:embed="rId15"/>
          <a:stretch>
            <a:fillRect/>
          </a:stretch>
        </p:blipFill>
        <p:spPr>
          <a:xfrm>
            <a:off x="5980246" y="5514604"/>
            <a:ext cx="282289" cy="282289"/>
          </a:xfrm>
          <a:prstGeom prst="rect">
            <a:avLst/>
          </a:prstGeom>
        </p:spPr>
      </p:pic>
      <p:pic>
        <p:nvPicPr>
          <p:cNvPr id="181" name="Imagen 180">
            <a:extLst>
              <a:ext uri="{FF2B5EF4-FFF2-40B4-BE49-F238E27FC236}">
                <a16:creationId xmlns:a16="http://schemas.microsoft.com/office/drawing/2014/main" id="{4B57A111-7364-2C34-45D5-88494496FCC7}"/>
              </a:ext>
            </a:extLst>
          </p:cNvPr>
          <p:cNvPicPr>
            <a:picLocks noChangeAspect="1"/>
          </p:cNvPicPr>
          <p:nvPr/>
        </p:nvPicPr>
        <p:blipFill>
          <a:blip r:embed="rId16"/>
          <a:stretch>
            <a:fillRect/>
          </a:stretch>
        </p:blipFill>
        <p:spPr>
          <a:xfrm>
            <a:off x="6606760" y="5523839"/>
            <a:ext cx="291395" cy="291395"/>
          </a:xfrm>
          <a:prstGeom prst="rect">
            <a:avLst/>
          </a:prstGeom>
        </p:spPr>
      </p:pic>
      <p:pic>
        <p:nvPicPr>
          <p:cNvPr id="182" name="Imagen 181">
            <a:extLst>
              <a:ext uri="{FF2B5EF4-FFF2-40B4-BE49-F238E27FC236}">
                <a16:creationId xmlns:a16="http://schemas.microsoft.com/office/drawing/2014/main" id="{92AFE981-80C9-0014-016B-3183B56CF5B9}"/>
              </a:ext>
            </a:extLst>
          </p:cNvPr>
          <p:cNvPicPr>
            <a:picLocks noChangeAspect="1"/>
          </p:cNvPicPr>
          <p:nvPr/>
        </p:nvPicPr>
        <p:blipFill>
          <a:blip r:embed="rId17"/>
          <a:stretch>
            <a:fillRect/>
          </a:stretch>
        </p:blipFill>
        <p:spPr>
          <a:xfrm>
            <a:off x="7252079" y="5536151"/>
            <a:ext cx="291395" cy="273183"/>
          </a:xfrm>
          <a:prstGeom prst="rect">
            <a:avLst/>
          </a:prstGeom>
        </p:spPr>
      </p:pic>
      <p:pic>
        <p:nvPicPr>
          <p:cNvPr id="183" name="Imagen 182">
            <a:extLst>
              <a:ext uri="{FF2B5EF4-FFF2-40B4-BE49-F238E27FC236}">
                <a16:creationId xmlns:a16="http://schemas.microsoft.com/office/drawing/2014/main" id="{2AC17DDA-D18D-F3A7-2B01-5E44CFFC43DB}"/>
              </a:ext>
            </a:extLst>
          </p:cNvPr>
          <p:cNvPicPr>
            <a:picLocks noChangeAspect="1"/>
          </p:cNvPicPr>
          <p:nvPr/>
        </p:nvPicPr>
        <p:blipFill>
          <a:blip r:embed="rId18"/>
          <a:stretch>
            <a:fillRect/>
          </a:stretch>
        </p:blipFill>
        <p:spPr>
          <a:xfrm>
            <a:off x="7872883" y="5496649"/>
            <a:ext cx="346032" cy="346032"/>
          </a:xfrm>
          <a:prstGeom prst="rect">
            <a:avLst/>
          </a:prstGeom>
        </p:spPr>
      </p:pic>
      <p:pic>
        <p:nvPicPr>
          <p:cNvPr id="184" name="Imagen 183">
            <a:extLst>
              <a:ext uri="{FF2B5EF4-FFF2-40B4-BE49-F238E27FC236}">
                <a16:creationId xmlns:a16="http://schemas.microsoft.com/office/drawing/2014/main" id="{237A21B0-0F67-F7B7-C66F-55C348F178AE}"/>
              </a:ext>
            </a:extLst>
          </p:cNvPr>
          <p:cNvPicPr>
            <a:picLocks noChangeAspect="1"/>
          </p:cNvPicPr>
          <p:nvPr/>
        </p:nvPicPr>
        <p:blipFill>
          <a:blip r:embed="rId19"/>
          <a:stretch>
            <a:fillRect/>
          </a:stretch>
        </p:blipFill>
        <p:spPr>
          <a:xfrm>
            <a:off x="8537826" y="5534992"/>
            <a:ext cx="264077" cy="264077"/>
          </a:xfrm>
          <a:prstGeom prst="rect">
            <a:avLst/>
          </a:prstGeom>
        </p:spPr>
      </p:pic>
      <p:pic>
        <p:nvPicPr>
          <p:cNvPr id="185" name="Imagen 184">
            <a:extLst>
              <a:ext uri="{FF2B5EF4-FFF2-40B4-BE49-F238E27FC236}">
                <a16:creationId xmlns:a16="http://schemas.microsoft.com/office/drawing/2014/main" id="{C85A682D-33B6-7AA2-4EC5-B2B7B57FA9E7}"/>
              </a:ext>
            </a:extLst>
          </p:cNvPr>
          <p:cNvPicPr>
            <a:picLocks noChangeAspect="1"/>
          </p:cNvPicPr>
          <p:nvPr/>
        </p:nvPicPr>
        <p:blipFill>
          <a:blip r:embed="rId20"/>
          <a:stretch>
            <a:fillRect/>
          </a:stretch>
        </p:blipFill>
        <p:spPr>
          <a:xfrm>
            <a:off x="3373134" y="6228367"/>
            <a:ext cx="318714" cy="182122"/>
          </a:xfrm>
          <a:prstGeom prst="rect">
            <a:avLst/>
          </a:prstGeom>
        </p:spPr>
      </p:pic>
      <p:pic>
        <p:nvPicPr>
          <p:cNvPr id="186" name="Imagen 185">
            <a:extLst>
              <a:ext uri="{FF2B5EF4-FFF2-40B4-BE49-F238E27FC236}">
                <a16:creationId xmlns:a16="http://schemas.microsoft.com/office/drawing/2014/main" id="{0FBE156A-4C32-5E32-0A73-58592B0CB63A}"/>
              </a:ext>
            </a:extLst>
          </p:cNvPr>
          <p:cNvPicPr>
            <a:picLocks noChangeAspect="1"/>
          </p:cNvPicPr>
          <p:nvPr/>
        </p:nvPicPr>
        <p:blipFill>
          <a:blip r:embed="rId21"/>
          <a:stretch>
            <a:fillRect/>
          </a:stretch>
        </p:blipFill>
        <p:spPr>
          <a:xfrm>
            <a:off x="5313811" y="6178456"/>
            <a:ext cx="309608" cy="309608"/>
          </a:xfrm>
          <a:prstGeom prst="rect">
            <a:avLst/>
          </a:prstGeom>
        </p:spPr>
      </p:pic>
      <p:pic>
        <p:nvPicPr>
          <p:cNvPr id="187" name="Imagen 186">
            <a:extLst>
              <a:ext uri="{FF2B5EF4-FFF2-40B4-BE49-F238E27FC236}">
                <a16:creationId xmlns:a16="http://schemas.microsoft.com/office/drawing/2014/main" id="{256AF647-8FD8-8556-4955-F4DC88FFB1B3}"/>
              </a:ext>
            </a:extLst>
          </p:cNvPr>
          <p:cNvPicPr>
            <a:picLocks noChangeAspect="1"/>
          </p:cNvPicPr>
          <p:nvPr/>
        </p:nvPicPr>
        <p:blipFill>
          <a:blip r:embed="rId22"/>
          <a:stretch>
            <a:fillRect/>
          </a:stretch>
        </p:blipFill>
        <p:spPr>
          <a:xfrm>
            <a:off x="5960489" y="6148469"/>
            <a:ext cx="318714" cy="318714"/>
          </a:xfrm>
          <a:prstGeom prst="rect">
            <a:avLst/>
          </a:prstGeom>
        </p:spPr>
      </p:pic>
      <p:pic>
        <p:nvPicPr>
          <p:cNvPr id="188" name="Imagen 187">
            <a:extLst>
              <a:ext uri="{FF2B5EF4-FFF2-40B4-BE49-F238E27FC236}">
                <a16:creationId xmlns:a16="http://schemas.microsoft.com/office/drawing/2014/main" id="{0EC60A13-8D7F-59AB-39D9-31D482721CA5}"/>
              </a:ext>
            </a:extLst>
          </p:cNvPr>
          <p:cNvPicPr>
            <a:picLocks noChangeAspect="1"/>
          </p:cNvPicPr>
          <p:nvPr/>
        </p:nvPicPr>
        <p:blipFill>
          <a:blip r:embed="rId23"/>
          <a:stretch>
            <a:fillRect/>
          </a:stretch>
        </p:blipFill>
        <p:spPr>
          <a:xfrm>
            <a:off x="6584551" y="6222468"/>
            <a:ext cx="364244" cy="218547"/>
          </a:xfrm>
          <a:prstGeom prst="rect">
            <a:avLst/>
          </a:prstGeom>
        </p:spPr>
      </p:pic>
      <p:pic>
        <p:nvPicPr>
          <p:cNvPr id="189" name="Imagen 188">
            <a:extLst>
              <a:ext uri="{FF2B5EF4-FFF2-40B4-BE49-F238E27FC236}">
                <a16:creationId xmlns:a16="http://schemas.microsoft.com/office/drawing/2014/main" id="{C07E4DAF-11E7-8D7F-41F8-0C7CB6A473EE}"/>
              </a:ext>
            </a:extLst>
          </p:cNvPr>
          <p:cNvPicPr>
            <a:picLocks noChangeAspect="1"/>
          </p:cNvPicPr>
          <p:nvPr/>
        </p:nvPicPr>
        <p:blipFill>
          <a:blip r:embed="rId24"/>
          <a:stretch>
            <a:fillRect/>
          </a:stretch>
        </p:blipFill>
        <p:spPr>
          <a:xfrm>
            <a:off x="7889451" y="6149362"/>
            <a:ext cx="264077" cy="291395"/>
          </a:xfrm>
          <a:prstGeom prst="rect">
            <a:avLst/>
          </a:prstGeom>
        </p:spPr>
      </p:pic>
      <p:pic>
        <p:nvPicPr>
          <p:cNvPr id="190" name="Imagen 189">
            <a:extLst>
              <a:ext uri="{FF2B5EF4-FFF2-40B4-BE49-F238E27FC236}">
                <a16:creationId xmlns:a16="http://schemas.microsoft.com/office/drawing/2014/main" id="{D2CA9719-CC57-5FEF-6A96-52D69DBC05BB}"/>
              </a:ext>
            </a:extLst>
          </p:cNvPr>
          <p:cNvPicPr>
            <a:picLocks noChangeAspect="1"/>
          </p:cNvPicPr>
          <p:nvPr/>
        </p:nvPicPr>
        <p:blipFill>
          <a:blip r:embed="rId25"/>
          <a:stretch>
            <a:fillRect/>
          </a:stretch>
        </p:blipFill>
        <p:spPr>
          <a:xfrm>
            <a:off x="8521811" y="6170953"/>
            <a:ext cx="336926" cy="336926"/>
          </a:xfrm>
          <a:prstGeom prst="rect">
            <a:avLst/>
          </a:prstGeom>
        </p:spPr>
      </p:pic>
      <p:pic>
        <p:nvPicPr>
          <p:cNvPr id="191" name="Imagen 190">
            <a:extLst>
              <a:ext uri="{FF2B5EF4-FFF2-40B4-BE49-F238E27FC236}">
                <a16:creationId xmlns:a16="http://schemas.microsoft.com/office/drawing/2014/main" id="{8C0C0710-5DE4-B02C-59B2-3078E576B741}"/>
              </a:ext>
            </a:extLst>
          </p:cNvPr>
          <p:cNvPicPr>
            <a:picLocks noChangeAspect="1"/>
          </p:cNvPicPr>
          <p:nvPr/>
        </p:nvPicPr>
        <p:blipFill>
          <a:blip r:embed="rId26"/>
          <a:stretch>
            <a:fillRect/>
          </a:stretch>
        </p:blipFill>
        <p:spPr>
          <a:xfrm>
            <a:off x="4647255" y="6210155"/>
            <a:ext cx="318714" cy="200334"/>
          </a:xfrm>
          <a:prstGeom prst="rect">
            <a:avLst/>
          </a:prstGeom>
        </p:spPr>
      </p:pic>
      <p:pic>
        <p:nvPicPr>
          <p:cNvPr id="192" name="Imagen 191">
            <a:extLst>
              <a:ext uri="{FF2B5EF4-FFF2-40B4-BE49-F238E27FC236}">
                <a16:creationId xmlns:a16="http://schemas.microsoft.com/office/drawing/2014/main" id="{C1E15A46-4B8E-0BC3-0ED4-42F3D1C133FD}"/>
              </a:ext>
            </a:extLst>
          </p:cNvPr>
          <p:cNvPicPr>
            <a:picLocks noChangeAspect="1"/>
          </p:cNvPicPr>
          <p:nvPr/>
        </p:nvPicPr>
        <p:blipFill>
          <a:blip r:embed="rId27"/>
          <a:stretch>
            <a:fillRect/>
          </a:stretch>
        </p:blipFill>
        <p:spPr>
          <a:xfrm>
            <a:off x="4023768" y="6166356"/>
            <a:ext cx="309608" cy="300502"/>
          </a:xfrm>
          <a:prstGeom prst="rect">
            <a:avLst/>
          </a:prstGeom>
        </p:spPr>
      </p:pic>
      <p:pic>
        <p:nvPicPr>
          <p:cNvPr id="193" name="Imagen 192">
            <a:extLst>
              <a:ext uri="{FF2B5EF4-FFF2-40B4-BE49-F238E27FC236}">
                <a16:creationId xmlns:a16="http://schemas.microsoft.com/office/drawing/2014/main" id="{E99D75ED-DDA8-E29C-E1E7-65975188C188}"/>
              </a:ext>
            </a:extLst>
          </p:cNvPr>
          <p:cNvPicPr>
            <a:picLocks noChangeAspect="1"/>
          </p:cNvPicPr>
          <p:nvPr/>
        </p:nvPicPr>
        <p:blipFill>
          <a:blip r:embed="rId28"/>
          <a:stretch>
            <a:fillRect/>
          </a:stretch>
        </p:blipFill>
        <p:spPr>
          <a:xfrm>
            <a:off x="7275144" y="6192653"/>
            <a:ext cx="254971" cy="254971"/>
          </a:xfrm>
          <a:prstGeom prst="rect">
            <a:avLst/>
          </a:prstGeom>
        </p:spPr>
      </p:pic>
      <p:sp>
        <p:nvSpPr>
          <p:cNvPr id="194" name="Elipse 193">
            <a:extLst>
              <a:ext uri="{FF2B5EF4-FFF2-40B4-BE49-F238E27FC236}">
                <a16:creationId xmlns:a16="http://schemas.microsoft.com/office/drawing/2014/main" id="{A4503864-AB56-275C-0F30-59EF375EF8C0}"/>
              </a:ext>
            </a:extLst>
          </p:cNvPr>
          <p:cNvSpPr/>
          <p:nvPr/>
        </p:nvSpPr>
        <p:spPr>
          <a:xfrm>
            <a:off x="5864888"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5" name="Elipse 194">
            <a:extLst>
              <a:ext uri="{FF2B5EF4-FFF2-40B4-BE49-F238E27FC236}">
                <a16:creationId xmlns:a16="http://schemas.microsoft.com/office/drawing/2014/main" id="{80273960-A3B1-A506-E29B-67FA386D1F67}"/>
              </a:ext>
            </a:extLst>
          </p:cNvPr>
          <p:cNvSpPr/>
          <p:nvPr/>
        </p:nvSpPr>
        <p:spPr>
          <a:xfrm>
            <a:off x="6516954"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6" name="Elipse 195">
            <a:extLst>
              <a:ext uri="{FF2B5EF4-FFF2-40B4-BE49-F238E27FC236}">
                <a16:creationId xmlns:a16="http://schemas.microsoft.com/office/drawing/2014/main" id="{3B5B7B1B-927E-038B-ADAE-0525188D2F53}"/>
              </a:ext>
            </a:extLst>
          </p:cNvPr>
          <p:cNvSpPr/>
          <p:nvPr/>
        </p:nvSpPr>
        <p:spPr>
          <a:xfrm>
            <a:off x="7152980"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7" name="Elipse 196">
            <a:extLst>
              <a:ext uri="{FF2B5EF4-FFF2-40B4-BE49-F238E27FC236}">
                <a16:creationId xmlns:a16="http://schemas.microsoft.com/office/drawing/2014/main" id="{ADF74CDF-ED0F-884F-EA79-6E48071BEB99}"/>
              </a:ext>
            </a:extLst>
          </p:cNvPr>
          <p:cNvSpPr/>
          <p:nvPr/>
        </p:nvSpPr>
        <p:spPr>
          <a:xfrm>
            <a:off x="7789005"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8" name="Elipse 197">
            <a:extLst>
              <a:ext uri="{FF2B5EF4-FFF2-40B4-BE49-F238E27FC236}">
                <a16:creationId xmlns:a16="http://schemas.microsoft.com/office/drawing/2014/main" id="{57E4ECC3-555E-8348-5DC3-C05895E46CFB}"/>
              </a:ext>
            </a:extLst>
          </p:cNvPr>
          <p:cNvSpPr/>
          <p:nvPr/>
        </p:nvSpPr>
        <p:spPr>
          <a:xfrm>
            <a:off x="8425030"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9" name="Elipse 198">
            <a:extLst>
              <a:ext uri="{FF2B5EF4-FFF2-40B4-BE49-F238E27FC236}">
                <a16:creationId xmlns:a16="http://schemas.microsoft.com/office/drawing/2014/main" id="{1E009990-5E65-C5DE-A916-52FF35C2801E}"/>
              </a:ext>
            </a:extLst>
          </p:cNvPr>
          <p:cNvSpPr/>
          <p:nvPr/>
        </p:nvSpPr>
        <p:spPr>
          <a:xfrm>
            <a:off x="3275157"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0" name="Elipse 199">
            <a:extLst>
              <a:ext uri="{FF2B5EF4-FFF2-40B4-BE49-F238E27FC236}">
                <a16:creationId xmlns:a16="http://schemas.microsoft.com/office/drawing/2014/main" id="{2BE99AD8-9921-858E-4469-326F31C91A3E}"/>
              </a:ext>
            </a:extLst>
          </p:cNvPr>
          <p:cNvSpPr/>
          <p:nvPr/>
        </p:nvSpPr>
        <p:spPr>
          <a:xfrm>
            <a:off x="3925835"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1" name="Elipse 200">
            <a:extLst>
              <a:ext uri="{FF2B5EF4-FFF2-40B4-BE49-F238E27FC236}">
                <a16:creationId xmlns:a16="http://schemas.microsoft.com/office/drawing/2014/main" id="{E59D0DAF-4A49-76AF-11AE-A1C9AD03696D}"/>
              </a:ext>
            </a:extLst>
          </p:cNvPr>
          <p:cNvSpPr/>
          <p:nvPr/>
        </p:nvSpPr>
        <p:spPr>
          <a:xfrm>
            <a:off x="4572269"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2" name="Elipse 201">
            <a:extLst>
              <a:ext uri="{FF2B5EF4-FFF2-40B4-BE49-F238E27FC236}">
                <a16:creationId xmlns:a16="http://schemas.microsoft.com/office/drawing/2014/main" id="{40C251CE-F552-0F85-C69D-904D6E08BFA8}"/>
              </a:ext>
            </a:extLst>
          </p:cNvPr>
          <p:cNvSpPr/>
          <p:nvPr/>
        </p:nvSpPr>
        <p:spPr>
          <a:xfrm>
            <a:off x="5217425"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3" name="Elipse 202">
            <a:extLst>
              <a:ext uri="{FF2B5EF4-FFF2-40B4-BE49-F238E27FC236}">
                <a16:creationId xmlns:a16="http://schemas.microsoft.com/office/drawing/2014/main" id="{7B0CBAEC-37AA-DFC6-8669-169815DF03ED}"/>
              </a:ext>
            </a:extLst>
          </p:cNvPr>
          <p:cNvSpPr/>
          <p:nvPr/>
        </p:nvSpPr>
        <p:spPr>
          <a:xfrm>
            <a:off x="5868291"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4" name="Elipse 203">
            <a:extLst>
              <a:ext uri="{FF2B5EF4-FFF2-40B4-BE49-F238E27FC236}">
                <a16:creationId xmlns:a16="http://schemas.microsoft.com/office/drawing/2014/main" id="{F4D613B9-239B-EFDD-3920-B0176C97744F}"/>
              </a:ext>
            </a:extLst>
          </p:cNvPr>
          <p:cNvSpPr/>
          <p:nvPr/>
        </p:nvSpPr>
        <p:spPr>
          <a:xfrm>
            <a:off x="6506698"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5" name="Elipse 204">
            <a:extLst>
              <a:ext uri="{FF2B5EF4-FFF2-40B4-BE49-F238E27FC236}">
                <a16:creationId xmlns:a16="http://schemas.microsoft.com/office/drawing/2014/main" id="{4F9349FC-2590-265A-7D1E-CFD65968AAE9}"/>
              </a:ext>
            </a:extLst>
          </p:cNvPr>
          <p:cNvSpPr/>
          <p:nvPr/>
        </p:nvSpPr>
        <p:spPr>
          <a:xfrm>
            <a:off x="7152980"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6" name="Elipse 205">
            <a:extLst>
              <a:ext uri="{FF2B5EF4-FFF2-40B4-BE49-F238E27FC236}">
                <a16:creationId xmlns:a16="http://schemas.microsoft.com/office/drawing/2014/main" id="{4FBF0029-FB21-5490-D18C-04FBED84D5E5}"/>
              </a:ext>
            </a:extLst>
          </p:cNvPr>
          <p:cNvSpPr/>
          <p:nvPr/>
        </p:nvSpPr>
        <p:spPr>
          <a:xfrm>
            <a:off x="7798385"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7" name="Elipse 206">
            <a:extLst>
              <a:ext uri="{FF2B5EF4-FFF2-40B4-BE49-F238E27FC236}">
                <a16:creationId xmlns:a16="http://schemas.microsoft.com/office/drawing/2014/main" id="{DCF56C7C-4312-DDD8-4F01-366BB991528E}"/>
              </a:ext>
            </a:extLst>
          </p:cNvPr>
          <p:cNvSpPr/>
          <p:nvPr/>
        </p:nvSpPr>
        <p:spPr>
          <a:xfrm>
            <a:off x="8425030" y="320218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8" name="Elipse 207">
            <a:extLst>
              <a:ext uri="{FF2B5EF4-FFF2-40B4-BE49-F238E27FC236}">
                <a16:creationId xmlns:a16="http://schemas.microsoft.com/office/drawing/2014/main" id="{6AF31C73-14E8-DD27-7E8B-3DAF87E05EFA}"/>
              </a:ext>
            </a:extLst>
          </p:cNvPr>
          <p:cNvSpPr/>
          <p:nvPr/>
        </p:nvSpPr>
        <p:spPr>
          <a:xfrm>
            <a:off x="8426479"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9" name="Elipse 208">
            <a:extLst>
              <a:ext uri="{FF2B5EF4-FFF2-40B4-BE49-F238E27FC236}">
                <a16:creationId xmlns:a16="http://schemas.microsoft.com/office/drawing/2014/main" id="{65AE12E9-D61A-C6DA-89BB-D69CDCD0111D}"/>
              </a:ext>
            </a:extLst>
          </p:cNvPr>
          <p:cNvSpPr/>
          <p:nvPr/>
        </p:nvSpPr>
        <p:spPr>
          <a:xfrm>
            <a:off x="7789005"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0" name="Elipse 209">
            <a:extLst>
              <a:ext uri="{FF2B5EF4-FFF2-40B4-BE49-F238E27FC236}">
                <a16:creationId xmlns:a16="http://schemas.microsoft.com/office/drawing/2014/main" id="{F3498412-BA51-39A7-D769-4AE6FCC0241E}"/>
              </a:ext>
            </a:extLst>
          </p:cNvPr>
          <p:cNvSpPr/>
          <p:nvPr/>
        </p:nvSpPr>
        <p:spPr>
          <a:xfrm>
            <a:off x="7154810"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1" name="Elipse 210">
            <a:extLst>
              <a:ext uri="{FF2B5EF4-FFF2-40B4-BE49-F238E27FC236}">
                <a16:creationId xmlns:a16="http://schemas.microsoft.com/office/drawing/2014/main" id="{239241FF-D4CE-44E0-3559-537D0FD6B9AF}"/>
              </a:ext>
            </a:extLst>
          </p:cNvPr>
          <p:cNvSpPr/>
          <p:nvPr/>
        </p:nvSpPr>
        <p:spPr>
          <a:xfrm>
            <a:off x="6518603"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2" name="Elipse 211">
            <a:extLst>
              <a:ext uri="{FF2B5EF4-FFF2-40B4-BE49-F238E27FC236}">
                <a16:creationId xmlns:a16="http://schemas.microsoft.com/office/drawing/2014/main" id="{DEDB73EA-642C-C176-C7E0-6E4C7DC7EE83}"/>
              </a:ext>
            </a:extLst>
          </p:cNvPr>
          <p:cNvSpPr/>
          <p:nvPr/>
        </p:nvSpPr>
        <p:spPr>
          <a:xfrm>
            <a:off x="5871506"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3" name="Elipse 212">
            <a:extLst>
              <a:ext uri="{FF2B5EF4-FFF2-40B4-BE49-F238E27FC236}">
                <a16:creationId xmlns:a16="http://schemas.microsoft.com/office/drawing/2014/main" id="{CA73D1D1-1514-0B78-E664-55EC8D37075E}"/>
              </a:ext>
            </a:extLst>
          </p:cNvPr>
          <p:cNvSpPr/>
          <p:nvPr/>
        </p:nvSpPr>
        <p:spPr>
          <a:xfrm>
            <a:off x="5218707"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4" name="Elipse 213">
            <a:extLst>
              <a:ext uri="{FF2B5EF4-FFF2-40B4-BE49-F238E27FC236}">
                <a16:creationId xmlns:a16="http://schemas.microsoft.com/office/drawing/2014/main" id="{D7725437-957F-69BF-DDE4-1FE78A3C38B4}"/>
              </a:ext>
            </a:extLst>
          </p:cNvPr>
          <p:cNvSpPr/>
          <p:nvPr/>
        </p:nvSpPr>
        <p:spPr>
          <a:xfrm>
            <a:off x="4570984"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5" name="Elipse 214">
            <a:extLst>
              <a:ext uri="{FF2B5EF4-FFF2-40B4-BE49-F238E27FC236}">
                <a16:creationId xmlns:a16="http://schemas.microsoft.com/office/drawing/2014/main" id="{66D8DA02-7E90-D2D0-18F7-A77F6C43A5B7}"/>
              </a:ext>
            </a:extLst>
          </p:cNvPr>
          <p:cNvSpPr/>
          <p:nvPr/>
        </p:nvSpPr>
        <p:spPr>
          <a:xfrm>
            <a:off x="3921941" y="3850991"/>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6" name="Elipse 215">
            <a:extLst>
              <a:ext uri="{FF2B5EF4-FFF2-40B4-BE49-F238E27FC236}">
                <a16:creationId xmlns:a16="http://schemas.microsoft.com/office/drawing/2014/main" id="{5D533083-AD43-D760-47A7-D5AD1ABA4229}"/>
              </a:ext>
            </a:extLst>
          </p:cNvPr>
          <p:cNvSpPr/>
          <p:nvPr/>
        </p:nvSpPr>
        <p:spPr>
          <a:xfrm>
            <a:off x="3275157" y="3853812"/>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7" name="Elipse 216">
            <a:extLst>
              <a:ext uri="{FF2B5EF4-FFF2-40B4-BE49-F238E27FC236}">
                <a16:creationId xmlns:a16="http://schemas.microsoft.com/office/drawing/2014/main" id="{F043FDF4-6E1A-DAF2-2256-F662473A1193}"/>
              </a:ext>
            </a:extLst>
          </p:cNvPr>
          <p:cNvSpPr/>
          <p:nvPr/>
        </p:nvSpPr>
        <p:spPr>
          <a:xfrm>
            <a:off x="5213696" y="2491720"/>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8" name="Elipse 217">
            <a:extLst>
              <a:ext uri="{FF2B5EF4-FFF2-40B4-BE49-F238E27FC236}">
                <a16:creationId xmlns:a16="http://schemas.microsoft.com/office/drawing/2014/main" id="{7933C80A-592A-2E68-96F8-F27F420B11C7}"/>
              </a:ext>
            </a:extLst>
          </p:cNvPr>
          <p:cNvSpPr/>
          <p:nvPr/>
        </p:nvSpPr>
        <p:spPr>
          <a:xfrm>
            <a:off x="4570991" y="2498734"/>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19" name="Elipse 218">
            <a:extLst>
              <a:ext uri="{FF2B5EF4-FFF2-40B4-BE49-F238E27FC236}">
                <a16:creationId xmlns:a16="http://schemas.microsoft.com/office/drawing/2014/main" id="{A37EC09C-9C42-0B8F-B16C-455E614CEB33}"/>
              </a:ext>
            </a:extLst>
          </p:cNvPr>
          <p:cNvSpPr/>
          <p:nvPr/>
        </p:nvSpPr>
        <p:spPr>
          <a:xfrm>
            <a:off x="3921941" y="2498734"/>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20" name="Elipse 219">
            <a:extLst>
              <a:ext uri="{FF2B5EF4-FFF2-40B4-BE49-F238E27FC236}">
                <a16:creationId xmlns:a16="http://schemas.microsoft.com/office/drawing/2014/main" id="{1EB7455F-E404-8A4C-CDCD-7796C1176E95}"/>
              </a:ext>
            </a:extLst>
          </p:cNvPr>
          <p:cNvSpPr/>
          <p:nvPr/>
        </p:nvSpPr>
        <p:spPr>
          <a:xfrm>
            <a:off x="3275157" y="2498734"/>
            <a:ext cx="490363" cy="486608"/>
          </a:xfrm>
          <a:prstGeom prst="ellipse">
            <a:avLst/>
          </a:prstGeom>
          <a:solidFill>
            <a:sysClr val="windowText" lastClr="000000"/>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221" name="Imagen 220">
            <a:extLst>
              <a:ext uri="{FF2B5EF4-FFF2-40B4-BE49-F238E27FC236}">
                <a16:creationId xmlns:a16="http://schemas.microsoft.com/office/drawing/2014/main" id="{846DBB73-1F52-1515-D46D-9BCB3B37E457}"/>
              </a:ext>
            </a:extLst>
          </p:cNvPr>
          <p:cNvPicPr>
            <a:picLocks noChangeAspect="1"/>
          </p:cNvPicPr>
          <p:nvPr/>
        </p:nvPicPr>
        <p:blipFill>
          <a:blip r:embed="rId2">
            <a:lum bright="100000"/>
          </a:blip>
          <a:stretch>
            <a:fillRect/>
          </a:stretch>
        </p:blipFill>
        <p:spPr>
          <a:xfrm>
            <a:off x="3361206" y="2575667"/>
            <a:ext cx="309608" cy="318714"/>
          </a:xfrm>
          <a:prstGeom prst="rect">
            <a:avLst/>
          </a:prstGeom>
        </p:spPr>
      </p:pic>
      <p:pic>
        <p:nvPicPr>
          <p:cNvPr id="222" name="Imagen 221">
            <a:extLst>
              <a:ext uri="{FF2B5EF4-FFF2-40B4-BE49-F238E27FC236}">
                <a16:creationId xmlns:a16="http://schemas.microsoft.com/office/drawing/2014/main" id="{E0C51079-BCA7-03AF-BE0A-7DAC7885A00A}"/>
              </a:ext>
            </a:extLst>
          </p:cNvPr>
          <p:cNvPicPr>
            <a:picLocks noChangeAspect="1"/>
          </p:cNvPicPr>
          <p:nvPr/>
        </p:nvPicPr>
        <p:blipFill>
          <a:blip r:embed="rId3">
            <a:lum bright="100000"/>
          </a:blip>
          <a:stretch>
            <a:fillRect/>
          </a:stretch>
        </p:blipFill>
        <p:spPr>
          <a:xfrm>
            <a:off x="4016440" y="2608244"/>
            <a:ext cx="318714" cy="264077"/>
          </a:xfrm>
          <a:prstGeom prst="rect">
            <a:avLst/>
          </a:prstGeom>
        </p:spPr>
      </p:pic>
      <p:pic>
        <p:nvPicPr>
          <p:cNvPr id="223" name="Imagen 222">
            <a:extLst>
              <a:ext uri="{FF2B5EF4-FFF2-40B4-BE49-F238E27FC236}">
                <a16:creationId xmlns:a16="http://schemas.microsoft.com/office/drawing/2014/main" id="{48C6176E-1728-83BE-3572-2FD03E6ED153}"/>
              </a:ext>
            </a:extLst>
          </p:cNvPr>
          <p:cNvPicPr>
            <a:picLocks noChangeAspect="1"/>
          </p:cNvPicPr>
          <p:nvPr/>
        </p:nvPicPr>
        <p:blipFill>
          <a:blip r:embed="rId4">
            <a:lum bright="100000"/>
          </a:blip>
          <a:stretch>
            <a:fillRect/>
          </a:stretch>
        </p:blipFill>
        <p:spPr>
          <a:xfrm>
            <a:off x="4656815" y="2586857"/>
            <a:ext cx="318714" cy="318714"/>
          </a:xfrm>
          <a:prstGeom prst="rect">
            <a:avLst/>
          </a:prstGeom>
        </p:spPr>
      </p:pic>
      <p:pic>
        <p:nvPicPr>
          <p:cNvPr id="224" name="Imagen 223">
            <a:extLst>
              <a:ext uri="{FF2B5EF4-FFF2-40B4-BE49-F238E27FC236}">
                <a16:creationId xmlns:a16="http://schemas.microsoft.com/office/drawing/2014/main" id="{E87393FA-2CD4-24C1-C7DD-3B39BB6183A2}"/>
              </a:ext>
            </a:extLst>
          </p:cNvPr>
          <p:cNvPicPr>
            <a:picLocks noChangeAspect="1"/>
          </p:cNvPicPr>
          <p:nvPr/>
        </p:nvPicPr>
        <p:blipFill>
          <a:blip r:embed="rId5">
            <a:lum bright="100000"/>
          </a:blip>
          <a:stretch>
            <a:fillRect/>
          </a:stretch>
        </p:blipFill>
        <p:spPr>
          <a:xfrm>
            <a:off x="5326240" y="2602985"/>
            <a:ext cx="218547" cy="264077"/>
          </a:xfrm>
          <a:prstGeom prst="rect">
            <a:avLst/>
          </a:prstGeom>
        </p:spPr>
      </p:pic>
      <p:pic>
        <p:nvPicPr>
          <p:cNvPr id="225" name="Imagen 224">
            <a:extLst>
              <a:ext uri="{FF2B5EF4-FFF2-40B4-BE49-F238E27FC236}">
                <a16:creationId xmlns:a16="http://schemas.microsoft.com/office/drawing/2014/main" id="{E7DF5A60-A931-9EB4-75C1-E5F95466B76E}"/>
              </a:ext>
            </a:extLst>
          </p:cNvPr>
          <p:cNvPicPr>
            <a:picLocks noChangeAspect="1"/>
          </p:cNvPicPr>
          <p:nvPr/>
        </p:nvPicPr>
        <p:blipFill>
          <a:blip r:embed="rId6">
            <a:lum bright="100000"/>
          </a:blip>
          <a:stretch>
            <a:fillRect/>
          </a:stretch>
        </p:blipFill>
        <p:spPr>
          <a:xfrm>
            <a:off x="5950235" y="2561620"/>
            <a:ext cx="336926" cy="336926"/>
          </a:xfrm>
          <a:prstGeom prst="rect">
            <a:avLst/>
          </a:prstGeom>
        </p:spPr>
      </p:pic>
      <p:pic>
        <p:nvPicPr>
          <p:cNvPr id="226" name="Imagen 225">
            <a:extLst>
              <a:ext uri="{FF2B5EF4-FFF2-40B4-BE49-F238E27FC236}">
                <a16:creationId xmlns:a16="http://schemas.microsoft.com/office/drawing/2014/main" id="{59048DBF-AA63-A580-AA8E-8014A75FDBED}"/>
              </a:ext>
            </a:extLst>
          </p:cNvPr>
          <p:cNvPicPr>
            <a:picLocks noChangeAspect="1"/>
          </p:cNvPicPr>
          <p:nvPr/>
        </p:nvPicPr>
        <p:blipFill>
          <a:blip r:embed="rId7">
            <a:lum bright="100000"/>
          </a:blip>
          <a:stretch>
            <a:fillRect/>
          </a:stretch>
        </p:blipFill>
        <p:spPr>
          <a:xfrm>
            <a:off x="6624603" y="2582782"/>
            <a:ext cx="282289" cy="282289"/>
          </a:xfrm>
          <a:prstGeom prst="rect">
            <a:avLst/>
          </a:prstGeom>
        </p:spPr>
      </p:pic>
      <p:pic>
        <p:nvPicPr>
          <p:cNvPr id="227" name="Imagen 226">
            <a:extLst>
              <a:ext uri="{FF2B5EF4-FFF2-40B4-BE49-F238E27FC236}">
                <a16:creationId xmlns:a16="http://schemas.microsoft.com/office/drawing/2014/main" id="{5C1A5C14-D381-AEFF-4CDC-F7F06F930ECF}"/>
              </a:ext>
            </a:extLst>
          </p:cNvPr>
          <p:cNvPicPr>
            <a:picLocks noChangeAspect="1"/>
          </p:cNvPicPr>
          <p:nvPr/>
        </p:nvPicPr>
        <p:blipFill>
          <a:blip r:embed="rId8">
            <a:lum bright="100000"/>
          </a:blip>
          <a:stretch>
            <a:fillRect/>
          </a:stretch>
        </p:blipFill>
        <p:spPr>
          <a:xfrm>
            <a:off x="7236754" y="2552514"/>
            <a:ext cx="318714" cy="318714"/>
          </a:xfrm>
          <a:prstGeom prst="rect">
            <a:avLst/>
          </a:prstGeom>
        </p:spPr>
      </p:pic>
      <p:pic>
        <p:nvPicPr>
          <p:cNvPr id="228" name="Imagen 227">
            <a:extLst>
              <a:ext uri="{FF2B5EF4-FFF2-40B4-BE49-F238E27FC236}">
                <a16:creationId xmlns:a16="http://schemas.microsoft.com/office/drawing/2014/main" id="{3E59BC34-C54C-64AA-86AE-8B2361A76522}"/>
              </a:ext>
            </a:extLst>
          </p:cNvPr>
          <p:cNvPicPr>
            <a:picLocks noChangeAspect="1"/>
          </p:cNvPicPr>
          <p:nvPr/>
        </p:nvPicPr>
        <p:blipFill>
          <a:blip r:embed="rId9">
            <a:lum bright="100000"/>
          </a:blip>
          <a:stretch>
            <a:fillRect/>
          </a:stretch>
        </p:blipFill>
        <p:spPr>
          <a:xfrm>
            <a:off x="7884781" y="2548089"/>
            <a:ext cx="309608" cy="346032"/>
          </a:xfrm>
          <a:prstGeom prst="rect">
            <a:avLst/>
          </a:prstGeom>
        </p:spPr>
      </p:pic>
      <p:pic>
        <p:nvPicPr>
          <p:cNvPr id="229" name="Imagen 228">
            <a:extLst>
              <a:ext uri="{FF2B5EF4-FFF2-40B4-BE49-F238E27FC236}">
                <a16:creationId xmlns:a16="http://schemas.microsoft.com/office/drawing/2014/main" id="{8159F43E-1B65-68B1-6D97-7CB5D980274A}"/>
              </a:ext>
            </a:extLst>
          </p:cNvPr>
          <p:cNvPicPr>
            <a:picLocks noChangeAspect="1"/>
          </p:cNvPicPr>
          <p:nvPr/>
        </p:nvPicPr>
        <p:blipFill>
          <a:blip r:embed="rId10">
            <a:lum bright="100000"/>
          </a:blip>
          <a:stretch>
            <a:fillRect/>
          </a:stretch>
        </p:blipFill>
        <p:spPr>
          <a:xfrm>
            <a:off x="8514593" y="2612220"/>
            <a:ext cx="318714" cy="227653"/>
          </a:xfrm>
          <a:prstGeom prst="rect">
            <a:avLst/>
          </a:prstGeom>
        </p:spPr>
      </p:pic>
      <p:pic>
        <p:nvPicPr>
          <p:cNvPr id="230" name="Imagen 229">
            <a:extLst>
              <a:ext uri="{FF2B5EF4-FFF2-40B4-BE49-F238E27FC236}">
                <a16:creationId xmlns:a16="http://schemas.microsoft.com/office/drawing/2014/main" id="{9BFB4A0E-1401-7EB0-BE5B-FDD8040BD448}"/>
              </a:ext>
            </a:extLst>
          </p:cNvPr>
          <p:cNvPicPr>
            <a:picLocks noChangeAspect="1"/>
          </p:cNvPicPr>
          <p:nvPr/>
        </p:nvPicPr>
        <p:blipFill>
          <a:blip r:embed="rId11">
            <a:lum bright="100000"/>
          </a:blip>
          <a:stretch>
            <a:fillRect/>
          </a:stretch>
        </p:blipFill>
        <p:spPr>
          <a:xfrm>
            <a:off x="3385446" y="3296591"/>
            <a:ext cx="282289" cy="282289"/>
          </a:xfrm>
          <a:prstGeom prst="rect">
            <a:avLst/>
          </a:prstGeom>
        </p:spPr>
      </p:pic>
      <p:pic>
        <p:nvPicPr>
          <p:cNvPr id="231" name="Imagen 230">
            <a:extLst>
              <a:ext uri="{FF2B5EF4-FFF2-40B4-BE49-F238E27FC236}">
                <a16:creationId xmlns:a16="http://schemas.microsoft.com/office/drawing/2014/main" id="{DF7B0218-2F65-A58F-7BB6-A4DBFA61CAAA}"/>
              </a:ext>
            </a:extLst>
          </p:cNvPr>
          <p:cNvPicPr>
            <a:picLocks noChangeAspect="1"/>
          </p:cNvPicPr>
          <p:nvPr/>
        </p:nvPicPr>
        <p:blipFill>
          <a:blip r:embed="rId12">
            <a:lum bright="100000"/>
          </a:blip>
          <a:stretch>
            <a:fillRect/>
          </a:stretch>
        </p:blipFill>
        <p:spPr>
          <a:xfrm>
            <a:off x="4025978" y="3293513"/>
            <a:ext cx="282289" cy="282289"/>
          </a:xfrm>
          <a:prstGeom prst="rect">
            <a:avLst/>
          </a:prstGeom>
        </p:spPr>
      </p:pic>
      <p:pic>
        <p:nvPicPr>
          <p:cNvPr id="232" name="Imagen 231">
            <a:extLst>
              <a:ext uri="{FF2B5EF4-FFF2-40B4-BE49-F238E27FC236}">
                <a16:creationId xmlns:a16="http://schemas.microsoft.com/office/drawing/2014/main" id="{ADB471BB-709E-CD91-DD67-D245E2453120}"/>
              </a:ext>
            </a:extLst>
          </p:cNvPr>
          <p:cNvPicPr>
            <a:picLocks noChangeAspect="1"/>
          </p:cNvPicPr>
          <p:nvPr/>
        </p:nvPicPr>
        <p:blipFill>
          <a:blip r:embed="rId13">
            <a:lum bright="100000"/>
          </a:blip>
          <a:stretch>
            <a:fillRect/>
          </a:stretch>
        </p:blipFill>
        <p:spPr>
          <a:xfrm>
            <a:off x="4677132" y="3306617"/>
            <a:ext cx="282289" cy="282289"/>
          </a:xfrm>
          <a:prstGeom prst="rect">
            <a:avLst/>
          </a:prstGeom>
        </p:spPr>
      </p:pic>
      <p:pic>
        <p:nvPicPr>
          <p:cNvPr id="233" name="Imagen 232">
            <a:extLst>
              <a:ext uri="{FF2B5EF4-FFF2-40B4-BE49-F238E27FC236}">
                <a16:creationId xmlns:a16="http://schemas.microsoft.com/office/drawing/2014/main" id="{B5012591-E22D-72F1-9D6E-6A6310638642}"/>
              </a:ext>
            </a:extLst>
          </p:cNvPr>
          <p:cNvPicPr>
            <a:picLocks noChangeAspect="1"/>
          </p:cNvPicPr>
          <p:nvPr/>
        </p:nvPicPr>
        <p:blipFill>
          <a:blip r:embed="rId14">
            <a:lum bright="100000"/>
          </a:blip>
          <a:stretch>
            <a:fillRect/>
          </a:stretch>
        </p:blipFill>
        <p:spPr>
          <a:xfrm>
            <a:off x="5313811" y="3325472"/>
            <a:ext cx="309608" cy="264077"/>
          </a:xfrm>
          <a:prstGeom prst="rect">
            <a:avLst/>
          </a:prstGeom>
        </p:spPr>
      </p:pic>
      <p:pic>
        <p:nvPicPr>
          <p:cNvPr id="234" name="Imagen 233">
            <a:extLst>
              <a:ext uri="{FF2B5EF4-FFF2-40B4-BE49-F238E27FC236}">
                <a16:creationId xmlns:a16="http://schemas.microsoft.com/office/drawing/2014/main" id="{ACF89872-D701-469E-7F1D-D5917E49D71D}"/>
              </a:ext>
            </a:extLst>
          </p:cNvPr>
          <p:cNvPicPr>
            <a:picLocks noChangeAspect="1"/>
          </p:cNvPicPr>
          <p:nvPr/>
        </p:nvPicPr>
        <p:blipFill>
          <a:blip r:embed="rId15">
            <a:lum bright="100000"/>
          </a:blip>
          <a:stretch>
            <a:fillRect/>
          </a:stretch>
        </p:blipFill>
        <p:spPr>
          <a:xfrm>
            <a:off x="5980246" y="3291835"/>
            <a:ext cx="282289" cy="282289"/>
          </a:xfrm>
          <a:prstGeom prst="rect">
            <a:avLst/>
          </a:prstGeom>
        </p:spPr>
      </p:pic>
      <p:pic>
        <p:nvPicPr>
          <p:cNvPr id="235" name="Imagen 234">
            <a:extLst>
              <a:ext uri="{FF2B5EF4-FFF2-40B4-BE49-F238E27FC236}">
                <a16:creationId xmlns:a16="http://schemas.microsoft.com/office/drawing/2014/main" id="{9FB55E2C-4AE4-FEDF-8A70-82F360C60791}"/>
              </a:ext>
            </a:extLst>
          </p:cNvPr>
          <p:cNvPicPr>
            <a:picLocks noChangeAspect="1"/>
          </p:cNvPicPr>
          <p:nvPr/>
        </p:nvPicPr>
        <p:blipFill>
          <a:blip r:embed="rId16">
            <a:lum bright="100000"/>
          </a:blip>
          <a:stretch>
            <a:fillRect/>
          </a:stretch>
        </p:blipFill>
        <p:spPr>
          <a:xfrm>
            <a:off x="6606760" y="3301070"/>
            <a:ext cx="291395" cy="291395"/>
          </a:xfrm>
          <a:prstGeom prst="rect">
            <a:avLst/>
          </a:prstGeom>
        </p:spPr>
      </p:pic>
      <p:pic>
        <p:nvPicPr>
          <p:cNvPr id="236" name="Imagen 235">
            <a:extLst>
              <a:ext uri="{FF2B5EF4-FFF2-40B4-BE49-F238E27FC236}">
                <a16:creationId xmlns:a16="http://schemas.microsoft.com/office/drawing/2014/main" id="{069F3B4C-21A6-733D-5D37-BA453F5ED7C3}"/>
              </a:ext>
            </a:extLst>
          </p:cNvPr>
          <p:cNvPicPr>
            <a:picLocks noChangeAspect="1"/>
          </p:cNvPicPr>
          <p:nvPr/>
        </p:nvPicPr>
        <p:blipFill>
          <a:blip r:embed="rId17">
            <a:lum bright="100000"/>
          </a:blip>
          <a:stretch>
            <a:fillRect/>
          </a:stretch>
        </p:blipFill>
        <p:spPr>
          <a:xfrm>
            <a:off x="7252079" y="3313382"/>
            <a:ext cx="291395" cy="273183"/>
          </a:xfrm>
          <a:prstGeom prst="rect">
            <a:avLst/>
          </a:prstGeom>
        </p:spPr>
      </p:pic>
      <p:pic>
        <p:nvPicPr>
          <p:cNvPr id="237" name="Imagen 236">
            <a:extLst>
              <a:ext uri="{FF2B5EF4-FFF2-40B4-BE49-F238E27FC236}">
                <a16:creationId xmlns:a16="http://schemas.microsoft.com/office/drawing/2014/main" id="{1C59274F-BB53-2B41-06A0-7D41CE3EEDD7}"/>
              </a:ext>
            </a:extLst>
          </p:cNvPr>
          <p:cNvPicPr>
            <a:picLocks noChangeAspect="1"/>
          </p:cNvPicPr>
          <p:nvPr/>
        </p:nvPicPr>
        <p:blipFill>
          <a:blip r:embed="rId18">
            <a:lum bright="100000"/>
          </a:blip>
          <a:stretch>
            <a:fillRect/>
          </a:stretch>
        </p:blipFill>
        <p:spPr>
          <a:xfrm>
            <a:off x="7872883" y="3273880"/>
            <a:ext cx="346032" cy="346032"/>
          </a:xfrm>
          <a:prstGeom prst="rect">
            <a:avLst/>
          </a:prstGeom>
        </p:spPr>
      </p:pic>
      <p:pic>
        <p:nvPicPr>
          <p:cNvPr id="238" name="Imagen 237">
            <a:extLst>
              <a:ext uri="{FF2B5EF4-FFF2-40B4-BE49-F238E27FC236}">
                <a16:creationId xmlns:a16="http://schemas.microsoft.com/office/drawing/2014/main" id="{F2D549EA-49DE-532E-239C-20228B6BFFF0}"/>
              </a:ext>
            </a:extLst>
          </p:cNvPr>
          <p:cNvPicPr>
            <a:picLocks noChangeAspect="1"/>
          </p:cNvPicPr>
          <p:nvPr/>
        </p:nvPicPr>
        <p:blipFill>
          <a:blip r:embed="rId19">
            <a:lum bright="100000"/>
          </a:blip>
          <a:stretch>
            <a:fillRect/>
          </a:stretch>
        </p:blipFill>
        <p:spPr>
          <a:xfrm>
            <a:off x="8537826" y="3312223"/>
            <a:ext cx="264077" cy="264077"/>
          </a:xfrm>
          <a:prstGeom prst="rect">
            <a:avLst/>
          </a:prstGeom>
        </p:spPr>
      </p:pic>
      <p:pic>
        <p:nvPicPr>
          <p:cNvPr id="239" name="Imagen 238">
            <a:extLst>
              <a:ext uri="{FF2B5EF4-FFF2-40B4-BE49-F238E27FC236}">
                <a16:creationId xmlns:a16="http://schemas.microsoft.com/office/drawing/2014/main" id="{986B2B64-D558-3E4C-0504-3516EE7DFD1B}"/>
              </a:ext>
            </a:extLst>
          </p:cNvPr>
          <p:cNvPicPr>
            <a:picLocks noChangeAspect="1"/>
          </p:cNvPicPr>
          <p:nvPr/>
        </p:nvPicPr>
        <p:blipFill>
          <a:blip r:embed="rId20">
            <a:lum bright="100000" contrast="100000"/>
          </a:blip>
          <a:stretch>
            <a:fillRect/>
          </a:stretch>
        </p:blipFill>
        <p:spPr>
          <a:xfrm>
            <a:off x="3373134" y="4005598"/>
            <a:ext cx="318714" cy="182122"/>
          </a:xfrm>
          <a:prstGeom prst="rect">
            <a:avLst/>
          </a:prstGeom>
        </p:spPr>
      </p:pic>
      <p:pic>
        <p:nvPicPr>
          <p:cNvPr id="240" name="Imagen 239">
            <a:extLst>
              <a:ext uri="{FF2B5EF4-FFF2-40B4-BE49-F238E27FC236}">
                <a16:creationId xmlns:a16="http://schemas.microsoft.com/office/drawing/2014/main" id="{CC60FEC0-12EF-69CD-6EFB-571C6C00E084}"/>
              </a:ext>
            </a:extLst>
          </p:cNvPr>
          <p:cNvPicPr>
            <a:picLocks noChangeAspect="1"/>
          </p:cNvPicPr>
          <p:nvPr/>
        </p:nvPicPr>
        <p:blipFill>
          <a:blip r:embed="rId21">
            <a:lum bright="100000"/>
          </a:blip>
          <a:stretch>
            <a:fillRect/>
          </a:stretch>
        </p:blipFill>
        <p:spPr>
          <a:xfrm>
            <a:off x="5313811" y="3955687"/>
            <a:ext cx="309608" cy="309608"/>
          </a:xfrm>
          <a:prstGeom prst="rect">
            <a:avLst/>
          </a:prstGeom>
        </p:spPr>
      </p:pic>
      <p:pic>
        <p:nvPicPr>
          <p:cNvPr id="241" name="Imagen 240">
            <a:extLst>
              <a:ext uri="{FF2B5EF4-FFF2-40B4-BE49-F238E27FC236}">
                <a16:creationId xmlns:a16="http://schemas.microsoft.com/office/drawing/2014/main" id="{7D933BF8-453D-2F47-B0CD-9A80024CB33B}"/>
              </a:ext>
            </a:extLst>
          </p:cNvPr>
          <p:cNvPicPr>
            <a:picLocks noChangeAspect="1"/>
          </p:cNvPicPr>
          <p:nvPr/>
        </p:nvPicPr>
        <p:blipFill>
          <a:blip r:embed="rId22">
            <a:lum bright="100000"/>
          </a:blip>
          <a:stretch>
            <a:fillRect/>
          </a:stretch>
        </p:blipFill>
        <p:spPr>
          <a:xfrm>
            <a:off x="5960489" y="3925700"/>
            <a:ext cx="318714" cy="318714"/>
          </a:xfrm>
          <a:prstGeom prst="rect">
            <a:avLst/>
          </a:prstGeom>
        </p:spPr>
      </p:pic>
      <p:pic>
        <p:nvPicPr>
          <p:cNvPr id="242" name="Imagen 241">
            <a:extLst>
              <a:ext uri="{FF2B5EF4-FFF2-40B4-BE49-F238E27FC236}">
                <a16:creationId xmlns:a16="http://schemas.microsoft.com/office/drawing/2014/main" id="{49CEEBDF-B3FD-6276-C526-3E2A7CF34143}"/>
              </a:ext>
            </a:extLst>
          </p:cNvPr>
          <p:cNvPicPr>
            <a:picLocks noChangeAspect="1"/>
          </p:cNvPicPr>
          <p:nvPr/>
        </p:nvPicPr>
        <p:blipFill>
          <a:blip r:embed="rId23">
            <a:lum bright="100000"/>
          </a:blip>
          <a:stretch>
            <a:fillRect/>
          </a:stretch>
        </p:blipFill>
        <p:spPr>
          <a:xfrm>
            <a:off x="6584551" y="3999699"/>
            <a:ext cx="364244" cy="218547"/>
          </a:xfrm>
          <a:prstGeom prst="rect">
            <a:avLst/>
          </a:prstGeom>
        </p:spPr>
      </p:pic>
      <p:pic>
        <p:nvPicPr>
          <p:cNvPr id="243" name="Imagen 242">
            <a:extLst>
              <a:ext uri="{FF2B5EF4-FFF2-40B4-BE49-F238E27FC236}">
                <a16:creationId xmlns:a16="http://schemas.microsoft.com/office/drawing/2014/main" id="{1285D941-B9DE-0E34-DEAE-6BD4E8E377D4}"/>
              </a:ext>
            </a:extLst>
          </p:cNvPr>
          <p:cNvPicPr>
            <a:picLocks noChangeAspect="1"/>
          </p:cNvPicPr>
          <p:nvPr/>
        </p:nvPicPr>
        <p:blipFill>
          <a:blip r:embed="rId24">
            <a:lum bright="100000"/>
          </a:blip>
          <a:stretch>
            <a:fillRect/>
          </a:stretch>
        </p:blipFill>
        <p:spPr>
          <a:xfrm>
            <a:off x="7889451" y="3926593"/>
            <a:ext cx="264077" cy="291395"/>
          </a:xfrm>
          <a:prstGeom prst="rect">
            <a:avLst/>
          </a:prstGeom>
        </p:spPr>
      </p:pic>
      <p:pic>
        <p:nvPicPr>
          <p:cNvPr id="244" name="Imagen 243">
            <a:extLst>
              <a:ext uri="{FF2B5EF4-FFF2-40B4-BE49-F238E27FC236}">
                <a16:creationId xmlns:a16="http://schemas.microsoft.com/office/drawing/2014/main" id="{84DC44D9-84F6-C715-61AB-79DC605FF7DA}"/>
              </a:ext>
            </a:extLst>
          </p:cNvPr>
          <p:cNvPicPr>
            <a:picLocks noChangeAspect="1"/>
          </p:cNvPicPr>
          <p:nvPr/>
        </p:nvPicPr>
        <p:blipFill>
          <a:blip r:embed="rId25">
            <a:lum bright="100000"/>
          </a:blip>
          <a:stretch>
            <a:fillRect/>
          </a:stretch>
        </p:blipFill>
        <p:spPr>
          <a:xfrm>
            <a:off x="8521811" y="3948184"/>
            <a:ext cx="336926" cy="336926"/>
          </a:xfrm>
          <a:prstGeom prst="rect">
            <a:avLst/>
          </a:prstGeom>
        </p:spPr>
      </p:pic>
      <p:pic>
        <p:nvPicPr>
          <p:cNvPr id="245" name="Imagen 244">
            <a:extLst>
              <a:ext uri="{FF2B5EF4-FFF2-40B4-BE49-F238E27FC236}">
                <a16:creationId xmlns:a16="http://schemas.microsoft.com/office/drawing/2014/main" id="{551119C1-82CC-49A2-96F3-4BEFD4D26666}"/>
              </a:ext>
            </a:extLst>
          </p:cNvPr>
          <p:cNvPicPr>
            <a:picLocks noChangeAspect="1"/>
          </p:cNvPicPr>
          <p:nvPr/>
        </p:nvPicPr>
        <p:blipFill>
          <a:blip r:embed="rId26">
            <a:lum bright="100000"/>
          </a:blip>
          <a:stretch>
            <a:fillRect/>
          </a:stretch>
        </p:blipFill>
        <p:spPr>
          <a:xfrm>
            <a:off x="4647255" y="3987386"/>
            <a:ext cx="318714" cy="200334"/>
          </a:xfrm>
          <a:prstGeom prst="rect">
            <a:avLst/>
          </a:prstGeom>
        </p:spPr>
      </p:pic>
      <p:pic>
        <p:nvPicPr>
          <p:cNvPr id="246" name="Imagen 245">
            <a:extLst>
              <a:ext uri="{FF2B5EF4-FFF2-40B4-BE49-F238E27FC236}">
                <a16:creationId xmlns:a16="http://schemas.microsoft.com/office/drawing/2014/main" id="{322A20A9-C2AF-020F-8CCA-EE25874ED2C6}"/>
              </a:ext>
            </a:extLst>
          </p:cNvPr>
          <p:cNvPicPr>
            <a:picLocks noChangeAspect="1"/>
          </p:cNvPicPr>
          <p:nvPr/>
        </p:nvPicPr>
        <p:blipFill>
          <a:blip r:embed="rId27">
            <a:lum bright="100000"/>
          </a:blip>
          <a:stretch>
            <a:fillRect/>
          </a:stretch>
        </p:blipFill>
        <p:spPr>
          <a:xfrm>
            <a:off x="4023768" y="3943587"/>
            <a:ext cx="309608" cy="300502"/>
          </a:xfrm>
          <a:prstGeom prst="rect">
            <a:avLst/>
          </a:prstGeom>
        </p:spPr>
      </p:pic>
      <p:pic>
        <p:nvPicPr>
          <p:cNvPr id="247" name="Imagen 246">
            <a:extLst>
              <a:ext uri="{FF2B5EF4-FFF2-40B4-BE49-F238E27FC236}">
                <a16:creationId xmlns:a16="http://schemas.microsoft.com/office/drawing/2014/main" id="{207956C3-3263-5559-DFD8-479D6ED64FAC}"/>
              </a:ext>
            </a:extLst>
          </p:cNvPr>
          <p:cNvPicPr>
            <a:picLocks noChangeAspect="1"/>
          </p:cNvPicPr>
          <p:nvPr/>
        </p:nvPicPr>
        <p:blipFill>
          <a:blip r:embed="rId28">
            <a:lum bright="100000"/>
          </a:blip>
          <a:stretch>
            <a:fillRect/>
          </a:stretch>
        </p:blipFill>
        <p:spPr>
          <a:xfrm>
            <a:off x="7275144" y="3969884"/>
            <a:ext cx="254971" cy="254971"/>
          </a:xfrm>
          <a:prstGeom prst="rect">
            <a:avLst/>
          </a:prstGeom>
        </p:spPr>
      </p:pic>
    </p:spTree>
    <p:extLst>
      <p:ext uri="{BB962C8B-B14F-4D97-AF65-F5344CB8AC3E}">
        <p14:creationId xmlns:p14="http://schemas.microsoft.com/office/powerpoint/2010/main" val="3433834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THANK YOU</a:t>
            </a:r>
          </a:p>
        </p:txBody>
      </p:sp>
    </p:spTree>
    <p:extLst>
      <p:ext uri="{BB962C8B-B14F-4D97-AF65-F5344CB8AC3E}">
        <p14:creationId xmlns:p14="http://schemas.microsoft.com/office/powerpoint/2010/main" val="21299957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THANK YOU</a:t>
            </a:r>
          </a:p>
        </p:txBody>
      </p:sp>
    </p:spTree>
    <p:extLst>
      <p:ext uri="{BB962C8B-B14F-4D97-AF65-F5344CB8AC3E}">
        <p14:creationId xmlns:p14="http://schemas.microsoft.com/office/powerpoint/2010/main" val="17450156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416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688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6A841C5-2743-3CB4-894A-F9DED02DC663}"/>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FC769FFC-E009-B855-22AC-FE03194B476F}"/>
              </a:ext>
            </a:extLst>
          </p:cNvPr>
          <p:cNvSpPr>
            <a:spLocks noGrp="1"/>
          </p:cNvSpPr>
          <p:nvPr>
            <p:ph type="sldNum" sz="quarter" idx="12"/>
          </p:nvPr>
        </p:nvSpPr>
        <p:spPr/>
        <p:txBody>
          <a:bodyPr/>
          <a:lstStyle/>
          <a:p>
            <a:fld id="{FF2CED2D-DE01-CB40-AEF5-C9DD7CD06225}" type="slidenum">
              <a:rPr lang="es-ES" smtClean="0"/>
              <a:t>7</a:t>
            </a:fld>
            <a:endParaRPr lang="es-ES"/>
          </a:p>
        </p:txBody>
      </p:sp>
      <p:sp>
        <p:nvSpPr>
          <p:cNvPr id="5" name="Marcador de texto 4">
            <a:extLst>
              <a:ext uri="{FF2B5EF4-FFF2-40B4-BE49-F238E27FC236}">
                <a16:creationId xmlns:a16="http://schemas.microsoft.com/office/drawing/2014/main" id="{29324BAE-8B37-BCB2-94B0-FCEBB26CF0D2}"/>
              </a:ext>
            </a:extLst>
          </p:cNvPr>
          <p:cNvSpPr>
            <a:spLocks noGrp="1"/>
          </p:cNvSpPr>
          <p:nvPr>
            <p:ph type="body" sz="quarter" idx="14"/>
          </p:nvPr>
        </p:nvSpPr>
        <p:spPr/>
        <p:txBody>
          <a:bodyPr/>
          <a:lstStyle/>
          <a:p>
            <a:r>
              <a:rPr lang="es-ES" dirty="0"/>
              <a:t>Desafíos del Modelo y Hardware</a:t>
            </a:r>
            <a:endParaRPr lang="en-GB" dirty="0"/>
          </a:p>
        </p:txBody>
      </p:sp>
      <p:sp>
        <p:nvSpPr>
          <p:cNvPr id="9" name="Rectángulo 8"/>
          <p:cNvSpPr/>
          <p:nvPr/>
        </p:nvSpPr>
        <p:spPr>
          <a:xfrm>
            <a:off x="344112" y="1604205"/>
            <a:ext cx="3519388" cy="4427621"/>
          </a:xfrm>
          <a:prstGeom prst="rect">
            <a:avLst/>
          </a:prstGeom>
          <a:solidFill>
            <a:schemeClr val="accent1">
              <a:lumMod val="20000"/>
              <a:lumOff val="80000"/>
            </a:schemeClr>
          </a:solidFill>
          <a:ln w="57150">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p>
        </p:txBody>
      </p:sp>
      <p:sp>
        <p:nvSpPr>
          <p:cNvPr id="10" name="Rectángulo 9"/>
          <p:cNvSpPr/>
          <p:nvPr/>
        </p:nvSpPr>
        <p:spPr>
          <a:xfrm>
            <a:off x="4307181" y="1604204"/>
            <a:ext cx="3519388" cy="4427621"/>
          </a:xfrm>
          <a:prstGeom prst="rect">
            <a:avLst/>
          </a:prstGeom>
          <a:solidFill>
            <a:schemeClr val="accent6">
              <a:lumMod val="20000"/>
              <a:lumOff val="80000"/>
            </a:schemeClr>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2000" b="1" dirty="0">
              <a:solidFill>
                <a:schemeClr val="tx1"/>
              </a:solidFill>
            </a:endParaRPr>
          </a:p>
        </p:txBody>
      </p:sp>
      <p:sp>
        <p:nvSpPr>
          <p:cNvPr id="11" name="Rectángulo 10"/>
          <p:cNvSpPr/>
          <p:nvPr/>
        </p:nvSpPr>
        <p:spPr>
          <a:xfrm>
            <a:off x="8270250" y="1604207"/>
            <a:ext cx="3519388" cy="4427621"/>
          </a:xfrm>
          <a:prstGeom prst="rect">
            <a:avLst/>
          </a:prstGeom>
          <a:solidFill>
            <a:schemeClr val="bg2">
              <a:lumMod val="95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CuadroTexto 12"/>
          <p:cNvSpPr txBox="1"/>
          <p:nvPr/>
        </p:nvSpPr>
        <p:spPr>
          <a:xfrm>
            <a:off x="555307" y="3249438"/>
            <a:ext cx="2941872" cy="2308324"/>
          </a:xfrm>
          <a:prstGeom prst="rect">
            <a:avLst/>
          </a:prstGeom>
          <a:noFill/>
        </p:spPr>
        <p:txBody>
          <a:bodyPr wrap="square" rtlCol="0">
            <a:spAutoFit/>
          </a:bodyPr>
          <a:lstStyle/>
          <a:p>
            <a:pPr algn="ctr"/>
            <a:r>
              <a:rPr lang="es-ES" dirty="0"/>
              <a:t>El sistema no puede dejar pasar defectos. El gran reto es mantener este </a:t>
            </a:r>
            <a:r>
              <a:rPr lang="es-ES" b="1" dirty="0"/>
              <a:t>equilibrio con la precisión</a:t>
            </a:r>
            <a:r>
              <a:rPr lang="es-ES" dirty="0"/>
              <a:t>, especialmente crítico cuando el volumen de datos es bajo.</a:t>
            </a:r>
          </a:p>
          <a:p>
            <a:endParaRPr lang="es-ES" dirty="0"/>
          </a:p>
        </p:txBody>
      </p:sp>
      <p:sp>
        <p:nvSpPr>
          <p:cNvPr id="14" name="CuadroTexto 13"/>
          <p:cNvSpPr txBox="1"/>
          <p:nvPr/>
        </p:nvSpPr>
        <p:spPr>
          <a:xfrm>
            <a:off x="1062393" y="2623258"/>
            <a:ext cx="1985607" cy="400110"/>
          </a:xfrm>
          <a:prstGeom prst="rect">
            <a:avLst/>
          </a:prstGeom>
          <a:noFill/>
        </p:spPr>
        <p:txBody>
          <a:bodyPr wrap="square" rtlCol="0">
            <a:spAutoFit/>
          </a:bodyPr>
          <a:lstStyle/>
          <a:p>
            <a:r>
              <a:rPr lang="es-ES" sz="2000" b="1" smtClean="0"/>
              <a:t>ALTO RECALL</a:t>
            </a:r>
            <a:endParaRPr lang="es-ES" sz="2000" b="1" dirty="0"/>
          </a:p>
        </p:txBody>
      </p:sp>
      <p:sp>
        <p:nvSpPr>
          <p:cNvPr id="15" name="CuadroTexto 14"/>
          <p:cNvSpPr txBox="1"/>
          <p:nvPr/>
        </p:nvSpPr>
        <p:spPr>
          <a:xfrm>
            <a:off x="4403219" y="2623258"/>
            <a:ext cx="3455314" cy="400110"/>
          </a:xfrm>
          <a:prstGeom prst="rect">
            <a:avLst/>
          </a:prstGeom>
          <a:noFill/>
        </p:spPr>
        <p:txBody>
          <a:bodyPr wrap="square" rtlCol="0">
            <a:spAutoFit/>
          </a:bodyPr>
          <a:lstStyle/>
          <a:p>
            <a:r>
              <a:rPr lang="es-ES" sz="2000" b="1" dirty="0" smtClean="0"/>
              <a:t>Eficiencia Computacional</a:t>
            </a:r>
            <a:endParaRPr lang="es-ES" sz="2000" b="1" dirty="0"/>
          </a:p>
        </p:txBody>
      </p:sp>
      <p:sp>
        <p:nvSpPr>
          <p:cNvPr id="16" name="CuadroTexto 15"/>
          <p:cNvSpPr txBox="1"/>
          <p:nvPr/>
        </p:nvSpPr>
        <p:spPr>
          <a:xfrm>
            <a:off x="4515681" y="3325056"/>
            <a:ext cx="3102387" cy="2031325"/>
          </a:xfrm>
          <a:prstGeom prst="rect">
            <a:avLst/>
          </a:prstGeom>
          <a:noFill/>
        </p:spPr>
        <p:txBody>
          <a:bodyPr wrap="square" rtlCol="0">
            <a:spAutoFit/>
          </a:bodyPr>
          <a:lstStyle/>
          <a:p>
            <a:pPr algn="ctr"/>
            <a:r>
              <a:rPr lang="es-ES" dirty="0"/>
              <a:t>Optimización obligatoria para evitar tiempos de cómputo elevados. Se requiere un balance preciso entre la </a:t>
            </a:r>
            <a:r>
              <a:rPr lang="es-ES" b="1" dirty="0"/>
              <a:t>complejidad del modelo</a:t>
            </a:r>
            <a:r>
              <a:rPr lang="es-ES" dirty="0"/>
              <a:t> y el hardware disponible.</a:t>
            </a:r>
            <a:endParaRPr lang="es-ES" dirty="0"/>
          </a:p>
        </p:txBody>
      </p:sp>
      <p:sp>
        <p:nvSpPr>
          <p:cNvPr id="17" name="CuadroTexto 16"/>
          <p:cNvSpPr txBox="1"/>
          <p:nvPr/>
        </p:nvSpPr>
        <p:spPr>
          <a:xfrm>
            <a:off x="8479459" y="3310301"/>
            <a:ext cx="3100969" cy="2031325"/>
          </a:xfrm>
          <a:prstGeom prst="rect">
            <a:avLst/>
          </a:prstGeom>
          <a:noFill/>
        </p:spPr>
        <p:txBody>
          <a:bodyPr wrap="square" rtlCol="0">
            <a:spAutoFit/>
          </a:bodyPr>
          <a:lstStyle/>
          <a:p>
            <a:pPr algn="ctr"/>
            <a:r>
              <a:rPr lang="es-ES" dirty="0"/>
              <a:t>Una lucha constante contra el </a:t>
            </a:r>
            <a:r>
              <a:rPr lang="es-ES" b="1" dirty="0" err="1"/>
              <a:t>overfitting</a:t>
            </a:r>
            <a:r>
              <a:rPr lang="es-ES" dirty="0"/>
              <a:t>. El tamaño reducido del </a:t>
            </a:r>
            <a:r>
              <a:rPr lang="es-ES" dirty="0" err="1"/>
              <a:t>dataset</a:t>
            </a:r>
            <a:r>
              <a:rPr lang="es-ES" dirty="0"/>
              <a:t> obliga a implementar técnicas robustas para asegurar que el modelo aprenda patrones reales.</a:t>
            </a:r>
            <a:endParaRPr lang="es-ES" dirty="0"/>
          </a:p>
        </p:txBody>
      </p:sp>
      <p:sp>
        <p:nvSpPr>
          <p:cNvPr id="18" name="CuadroTexto 17"/>
          <p:cNvSpPr txBox="1"/>
          <p:nvPr/>
        </p:nvSpPr>
        <p:spPr>
          <a:xfrm>
            <a:off x="9208168" y="2604476"/>
            <a:ext cx="2775284" cy="677108"/>
          </a:xfrm>
          <a:prstGeom prst="rect">
            <a:avLst/>
          </a:prstGeom>
          <a:noFill/>
        </p:spPr>
        <p:txBody>
          <a:bodyPr wrap="square" rtlCol="0">
            <a:spAutoFit/>
          </a:bodyPr>
          <a:lstStyle/>
          <a:p>
            <a:r>
              <a:rPr lang="es-ES" sz="2000" b="1" dirty="0"/>
              <a:t>Generalización</a:t>
            </a:r>
          </a:p>
          <a:p>
            <a:endParaRPr lang="es-ES" dirty="0"/>
          </a:p>
        </p:txBody>
      </p:sp>
      <p:pic>
        <p:nvPicPr>
          <p:cNvPr id="20" name="Imagen 19"/>
          <p:cNvPicPr>
            <a:picLocks noChangeAspect="1"/>
          </p:cNvPicPr>
          <p:nvPr/>
        </p:nvPicPr>
        <p:blipFill>
          <a:blip r:embed="rId2"/>
          <a:stretch>
            <a:fillRect/>
          </a:stretch>
        </p:blipFill>
        <p:spPr>
          <a:xfrm>
            <a:off x="5655072" y="1712498"/>
            <a:ext cx="823606" cy="855359"/>
          </a:xfrm>
          <a:prstGeom prst="rect">
            <a:avLst/>
          </a:prstGeom>
        </p:spPr>
      </p:pic>
      <p:pic>
        <p:nvPicPr>
          <p:cNvPr id="21" name="Imagen 20"/>
          <p:cNvPicPr>
            <a:picLocks noChangeAspect="1"/>
          </p:cNvPicPr>
          <p:nvPr/>
        </p:nvPicPr>
        <p:blipFill>
          <a:blip r:embed="rId3"/>
          <a:stretch>
            <a:fillRect/>
          </a:stretch>
        </p:blipFill>
        <p:spPr>
          <a:xfrm>
            <a:off x="1638046" y="1712498"/>
            <a:ext cx="776394" cy="778416"/>
          </a:xfrm>
          <a:prstGeom prst="rect">
            <a:avLst/>
          </a:prstGeom>
        </p:spPr>
      </p:pic>
      <p:pic>
        <p:nvPicPr>
          <p:cNvPr id="22" name="Imagen 21"/>
          <p:cNvPicPr>
            <a:picLocks noChangeAspect="1"/>
          </p:cNvPicPr>
          <p:nvPr/>
        </p:nvPicPr>
        <p:blipFill>
          <a:blip r:embed="rId4"/>
          <a:stretch>
            <a:fillRect/>
          </a:stretch>
        </p:blipFill>
        <p:spPr>
          <a:xfrm>
            <a:off x="9797643" y="1728006"/>
            <a:ext cx="798167" cy="825377"/>
          </a:xfrm>
          <a:prstGeom prst="rect">
            <a:avLst/>
          </a:prstGeom>
        </p:spPr>
      </p:pic>
    </p:spTree>
    <p:extLst>
      <p:ext uri="{BB962C8B-B14F-4D97-AF65-F5344CB8AC3E}">
        <p14:creationId xmlns:p14="http://schemas.microsoft.com/office/powerpoint/2010/main" val="4161026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3"/>
          </p:nvPr>
        </p:nvSpPr>
        <p:spPr/>
        <p:txBody>
          <a:bodyPr/>
          <a:lstStyle/>
          <a:p>
            <a:r>
              <a:rPr lang="es-ES" dirty="0" smtClean="0"/>
              <a:t>03</a:t>
            </a:r>
            <a:endParaRPr lang="es-ES" dirty="0"/>
          </a:p>
        </p:txBody>
      </p:sp>
      <p:sp>
        <p:nvSpPr>
          <p:cNvPr id="4" name="Marcador de pie de página 3"/>
          <p:cNvSpPr>
            <a:spLocks noGrp="1"/>
          </p:cNvSpPr>
          <p:nvPr>
            <p:ph type="ftr" sz="quarter" idx="11"/>
          </p:nvPr>
        </p:nvSpPr>
        <p:spPr/>
        <p:txBody>
          <a:bodyPr/>
          <a:lstStyle/>
          <a:p>
            <a:r>
              <a:rPr lang="es-ES"/>
              <a:t>Proprietary Information - Confidential</a:t>
            </a:r>
          </a:p>
        </p:txBody>
      </p:sp>
      <p:sp>
        <p:nvSpPr>
          <p:cNvPr id="5" name="Marcador de número de diapositiva 4"/>
          <p:cNvSpPr>
            <a:spLocks noGrp="1"/>
          </p:cNvSpPr>
          <p:nvPr>
            <p:ph type="sldNum" sz="quarter" idx="12"/>
          </p:nvPr>
        </p:nvSpPr>
        <p:spPr/>
        <p:txBody>
          <a:bodyPr/>
          <a:lstStyle/>
          <a:p>
            <a:fld id="{FF2CED2D-DE01-CB40-AEF5-C9DD7CD06225}" type="slidenum">
              <a:rPr lang="es-ES" smtClean="0"/>
              <a:t>8</a:t>
            </a:fld>
            <a:endParaRPr lang="es-ES"/>
          </a:p>
        </p:txBody>
      </p:sp>
      <p:sp>
        <p:nvSpPr>
          <p:cNvPr id="6" name="Marcador de texto 5"/>
          <p:cNvSpPr>
            <a:spLocks noGrp="1"/>
          </p:cNvSpPr>
          <p:nvPr>
            <p:ph type="body" sz="quarter" idx="19"/>
          </p:nvPr>
        </p:nvSpPr>
        <p:spPr>
          <a:xfrm>
            <a:off x="609507" y="3355192"/>
            <a:ext cx="4523967" cy="1417002"/>
          </a:xfrm>
        </p:spPr>
        <p:txBody>
          <a:bodyPr/>
          <a:lstStyle/>
          <a:p>
            <a:r>
              <a:rPr lang="en-GB" dirty="0" smtClean="0"/>
              <a:t>SOLUCIONES IMPLEMENTADAS</a:t>
            </a:r>
            <a:endParaRPr lang="en-GB" dirty="0"/>
          </a:p>
          <a:p>
            <a:endParaRPr lang="es-ES" dirty="0"/>
          </a:p>
        </p:txBody>
      </p:sp>
      <p:sp>
        <p:nvSpPr>
          <p:cNvPr id="8" name="Marcador de posición de imagen 7"/>
          <p:cNvSpPr>
            <a:spLocks noGrp="1"/>
          </p:cNvSpPr>
          <p:nvPr>
            <p:ph type="pic" idx="1"/>
          </p:nvPr>
        </p:nvSpPr>
        <p:spPr/>
      </p:sp>
      <p:pic>
        <p:nvPicPr>
          <p:cNvPr id="9" name="Imagen 8"/>
          <p:cNvPicPr>
            <a:picLocks noChangeAspect="1"/>
          </p:cNvPicPr>
          <p:nvPr/>
        </p:nvPicPr>
        <p:blipFill>
          <a:blip r:embed="rId2"/>
          <a:stretch>
            <a:fillRect/>
          </a:stretch>
        </p:blipFill>
        <p:spPr>
          <a:xfrm>
            <a:off x="6278332" y="25859"/>
            <a:ext cx="5913668" cy="6845124"/>
          </a:xfrm>
          <a:prstGeom prst="rect">
            <a:avLst/>
          </a:prstGeom>
        </p:spPr>
      </p:pic>
    </p:spTree>
    <p:extLst>
      <p:ext uri="{BB962C8B-B14F-4D97-AF65-F5344CB8AC3E}">
        <p14:creationId xmlns:p14="http://schemas.microsoft.com/office/powerpoint/2010/main" val="2881424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25701B44-E09B-B584-A088-B5C944C1BDEB}"/>
              </a:ext>
            </a:extLst>
          </p:cNvPr>
          <p:cNvSpPr>
            <a:spLocks noGrp="1"/>
          </p:cNvSpPr>
          <p:nvPr>
            <p:ph type="body" sz="quarter" idx="25"/>
          </p:nvPr>
        </p:nvSpPr>
        <p:spPr/>
        <p:txBody>
          <a:bodyPr/>
          <a:lstStyle/>
          <a:p>
            <a:endParaRPr lang="en-GB"/>
          </a:p>
        </p:txBody>
      </p:sp>
      <p:sp>
        <p:nvSpPr>
          <p:cNvPr id="3" name="Marcador de pie de página 2">
            <a:extLst>
              <a:ext uri="{FF2B5EF4-FFF2-40B4-BE49-F238E27FC236}">
                <a16:creationId xmlns:a16="http://schemas.microsoft.com/office/drawing/2014/main" id="{35815A7C-0EC7-6043-056A-E37126868824}"/>
              </a:ext>
            </a:extLst>
          </p:cNvPr>
          <p:cNvSpPr>
            <a:spLocks noGrp="1"/>
          </p:cNvSpPr>
          <p:nvPr>
            <p:ph type="ftr" sz="quarter" idx="11"/>
          </p:nvPr>
        </p:nvSpPr>
        <p:spPr/>
        <p:txBody>
          <a:bodyPr/>
          <a:lstStyle/>
          <a:p>
            <a:r>
              <a:rPr lang="es-ES"/>
              <a:t>Proprietary Information - Confidential</a:t>
            </a:r>
          </a:p>
        </p:txBody>
      </p:sp>
      <p:sp>
        <p:nvSpPr>
          <p:cNvPr id="4" name="Marcador de número de diapositiva 3">
            <a:extLst>
              <a:ext uri="{FF2B5EF4-FFF2-40B4-BE49-F238E27FC236}">
                <a16:creationId xmlns:a16="http://schemas.microsoft.com/office/drawing/2014/main" id="{A5902C8D-37BE-1625-2E83-3175350DD21A}"/>
              </a:ext>
            </a:extLst>
          </p:cNvPr>
          <p:cNvSpPr>
            <a:spLocks noGrp="1"/>
          </p:cNvSpPr>
          <p:nvPr>
            <p:ph type="sldNum" sz="quarter" idx="12"/>
          </p:nvPr>
        </p:nvSpPr>
        <p:spPr/>
        <p:txBody>
          <a:bodyPr/>
          <a:lstStyle/>
          <a:p>
            <a:fld id="{FF2CED2D-DE01-CB40-AEF5-C9DD7CD06225}" type="slidenum">
              <a:rPr lang="es-ES" smtClean="0"/>
              <a:t>9</a:t>
            </a:fld>
            <a:endParaRPr lang="es-ES"/>
          </a:p>
        </p:txBody>
      </p:sp>
      <p:sp>
        <p:nvSpPr>
          <p:cNvPr id="5" name="Marcador de texto 4">
            <a:extLst>
              <a:ext uri="{FF2B5EF4-FFF2-40B4-BE49-F238E27FC236}">
                <a16:creationId xmlns:a16="http://schemas.microsoft.com/office/drawing/2014/main" id="{C34DAB01-2FF5-8260-FD31-4C7C0A07373F}"/>
              </a:ext>
            </a:extLst>
          </p:cNvPr>
          <p:cNvSpPr>
            <a:spLocks noGrp="1"/>
          </p:cNvSpPr>
          <p:nvPr>
            <p:ph type="body" sz="quarter" idx="26"/>
          </p:nvPr>
        </p:nvSpPr>
        <p:spPr/>
        <p:txBody>
          <a:bodyPr/>
          <a:lstStyle/>
          <a:p>
            <a:endParaRPr lang="en-GB"/>
          </a:p>
        </p:txBody>
      </p:sp>
      <p:sp>
        <p:nvSpPr>
          <p:cNvPr id="6" name="Marcador de texto 5">
            <a:extLst>
              <a:ext uri="{FF2B5EF4-FFF2-40B4-BE49-F238E27FC236}">
                <a16:creationId xmlns:a16="http://schemas.microsoft.com/office/drawing/2014/main" id="{AE454AE2-0A50-8FC9-CD57-63DF9CA65C57}"/>
              </a:ext>
            </a:extLst>
          </p:cNvPr>
          <p:cNvSpPr>
            <a:spLocks noGrp="1"/>
          </p:cNvSpPr>
          <p:nvPr>
            <p:ph type="body" sz="quarter" idx="27"/>
          </p:nvPr>
        </p:nvSpPr>
        <p:spPr/>
        <p:txBody>
          <a:bodyPr/>
          <a:lstStyle/>
          <a:p>
            <a:endParaRPr lang="en-GB"/>
          </a:p>
        </p:txBody>
      </p:sp>
      <p:sp>
        <p:nvSpPr>
          <p:cNvPr id="7" name="Marcador de texto 6">
            <a:extLst>
              <a:ext uri="{FF2B5EF4-FFF2-40B4-BE49-F238E27FC236}">
                <a16:creationId xmlns:a16="http://schemas.microsoft.com/office/drawing/2014/main" id="{A4DB015C-9D3F-8540-809A-96DB09359612}"/>
              </a:ext>
            </a:extLst>
          </p:cNvPr>
          <p:cNvSpPr>
            <a:spLocks noGrp="1"/>
          </p:cNvSpPr>
          <p:nvPr>
            <p:ph type="body" sz="quarter" idx="28"/>
          </p:nvPr>
        </p:nvSpPr>
        <p:spPr/>
        <p:txBody>
          <a:bodyPr/>
          <a:lstStyle/>
          <a:p>
            <a:endParaRPr lang="en-GB"/>
          </a:p>
        </p:txBody>
      </p:sp>
      <p:sp>
        <p:nvSpPr>
          <p:cNvPr id="8" name="Marcador de texto 7">
            <a:extLst>
              <a:ext uri="{FF2B5EF4-FFF2-40B4-BE49-F238E27FC236}">
                <a16:creationId xmlns:a16="http://schemas.microsoft.com/office/drawing/2014/main" id="{F1150AFE-A665-7E0F-40C7-3C58C37CA3BB}"/>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056829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P Aero - Presentation cover">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TP Aero - Slides">
  <a:themeElements>
    <a:clrScheme name="ITP Aero">
      <a:dk1>
        <a:srgbClr val="000000"/>
      </a:dk1>
      <a:lt1>
        <a:srgbClr val="FFFFFF"/>
      </a:lt1>
      <a:dk2>
        <a:srgbClr val="0041EC"/>
      </a:dk2>
      <a:lt2>
        <a:srgbClr val="FFFFFF"/>
      </a:lt2>
      <a:accent1>
        <a:srgbClr val="0041EC"/>
      </a:accent1>
      <a:accent2>
        <a:srgbClr val="000000"/>
      </a:accent2>
      <a:accent3>
        <a:srgbClr val="BCD3DE"/>
      </a:accent3>
      <a:accent4>
        <a:srgbClr val="DACFC1"/>
      </a:accent4>
      <a:accent5>
        <a:srgbClr val="CFCDF5"/>
      </a:accent5>
      <a:accent6>
        <a:srgbClr val="ADD4AB"/>
      </a:accent6>
      <a:hlink>
        <a:srgbClr val="0000D0"/>
      </a:hlink>
      <a:folHlink>
        <a:srgbClr val="96607D"/>
      </a:folHlink>
    </a:clrScheme>
    <a:fontScheme name="ITP Aer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432E04C3831FEC41AD8EF201BE958832" ma:contentTypeVersion="12" ma:contentTypeDescription="Crear nuevo documento." ma:contentTypeScope="" ma:versionID="fc963330ed4a669dec2c47cd5d129784">
  <xsd:schema xmlns:xsd="http://www.w3.org/2001/XMLSchema" xmlns:xs="http://www.w3.org/2001/XMLSchema" xmlns:p="http://schemas.microsoft.com/office/2006/metadata/properties" xmlns:ns2="eb8fc465-e5aa-453f-b5a5-74d137af9a07" xmlns:ns3="d57d63e8-a437-4e35-923b-d88a7b1e4c6b" targetNamespace="http://schemas.microsoft.com/office/2006/metadata/properties" ma:root="true" ma:fieldsID="e2e0cf9f896a1d56e5d48548b7c9a75b" ns2:_="" ns3:_="">
    <xsd:import namespace="eb8fc465-e5aa-453f-b5a5-74d137af9a07"/>
    <xsd:import namespace="d57d63e8-a437-4e35-923b-d88a7b1e4c6b"/>
    <xsd:element name="properties">
      <xsd:complexType>
        <xsd:sequence>
          <xsd:element name="documentManagement">
            <xsd:complexType>
              <xsd:all>
                <xsd:element ref="ns2:Categor_x00ed_a"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8fc465-e5aa-453f-b5a5-74d137af9a07" elementFormDefault="qualified">
    <xsd:import namespace="http://schemas.microsoft.com/office/2006/documentManagement/types"/>
    <xsd:import namespace="http://schemas.microsoft.com/office/infopath/2007/PartnerControls"/>
    <xsd:element name="Categor_x00ed_a" ma:index="8" nillable="true" ma:displayName="Categoría" ma:format="Dropdown" ma:internalName="Categor_x00ed_a" ma:readOnly="false">
      <xsd:simpleType>
        <xsd:restriction base="dms:Choice">
          <xsd:enumeration value="General"/>
          <xsd:enumeration value="Word"/>
          <xsd:enumeration value="PPT"/>
          <xsd:enumeration value="E-Mail"/>
          <xsd:enumeration value="Corporate"/>
          <xsd:enumeration value="Template"/>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Etiquetas de imagen" ma:readOnly="false" ma:fieldId="{5cf76f15-5ced-4ddc-b409-7134ff3c332f}" ma:taxonomyMulti="true" ma:sspId="d7a2d60e-e281-4729-b47d-16968d426544"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7d63e8-a437-4e35-923b-d88a7b1e4c6b"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50d9863-6c5e-42e4-b3ec-4616437319a4}" ma:internalName="TaxCatchAll" ma:showField="CatchAllData" ma:web="d57d63e8-a437-4e35-923b-d88a7b1e4c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_x00ed_a xmlns="eb8fc465-e5aa-453f-b5a5-74d137af9a07" xsi:nil="true"/>
    <TaxCatchAll xmlns="d57d63e8-a437-4e35-923b-d88a7b1e4c6b" xsi:nil="true"/>
    <lcf76f155ced4ddcb4097134ff3c332f xmlns="eb8fc465-e5aa-453f-b5a5-74d137af9a0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607DF5A-B859-4622-BCA6-ED12F70FAD06}">
  <ds:schemaRefs>
    <ds:schemaRef ds:uri="http://schemas.microsoft.com/sharepoint/v3/contenttype/forms"/>
  </ds:schemaRefs>
</ds:datastoreItem>
</file>

<file path=customXml/itemProps2.xml><?xml version="1.0" encoding="utf-8"?>
<ds:datastoreItem xmlns:ds="http://schemas.openxmlformats.org/officeDocument/2006/customXml" ds:itemID="{2DB14B23-F7E1-40B9-B479-461262B626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8fc465-e5aa-453f-b5a5-74d137af9a07"/>
    <ds:schemaRef ds:uri="d57d63e8-a437-4e35-923b-d88a7b1e4c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95BD29-742E-49CC-AEF8-091376A203B5}">
  <ds:schemaRefs>
    <ds:schemaRef ds:uri="http://schemas.microsoft.com/office/2006/documentManagement/types"/>
    <ds:schemaRef ds:uri="http://purl.org/dc/terms/"/>
    <ds:schemaRef ds:uri="d57d63e8-a437-4e35-923b-d88a7b1e4c6b"/>
    <ds:schemaRef ds:uri="http://www.w3.org/XML/1998/namespace"/>
    <ds:schemaRef ds:uri="http://schemas.openxmlformats.org/package/2006/metadata/core-properties"/>
    <ds:schemaRef ds:uri="http://schemas.microsoft.com/office/infopath/2007/PartnerControls"/>
    <ds:schemaRef ds:uri="eb8fc465-e5aa-453f-b5a5-74d137af9a07"/>
    <ds:schemaRef ds:uri="http://purl.org/dc/elements/1.1/"/>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03</TotalTime>
  <Words>1024</Words>
  <Application>Microsoft Office PowerPoint</Application>
  <PresentationFormat>Panorámica</PresentationFormat>
  <Paragraphs>335</Paragraphs>
  <Slides>65</Slides>
  <Notes>0</Notes>
  <HiddenSlides>0</HiddenSlides>
  <MMClips>0</MMClips>
  <ScaleCrop>false</ScaleCrop>
  <HeadingPairs>
    <vt:vector size="8" baseType="variant">
      <vt:variant>
        <vt:lpstr>Fuentes usadas</vt:lpstr>
      </vt:variant>
      <vt:variant>
        <vt:i4>14</vt:i4>
      </vt:variant>
      <vt:variant>
        <vt:lpstr>Tema</vt:lpstr>
      </vt:variant>
      <vt:variant>
        <vt:i4>2</vt:i4>
      </vt:variant>
      <vt:variant>
        <vt:lpstr>Servidores OLE incrustados</vt:lpstr>
      </vt:variant>
      <vt:variant>
        <vt:i4>1</vt:i4>
      </vt:variant>
      <vt:variant>
        <vt:lpstr>Títulos de diapositiva</vt:lpstr>
      </vt:variant>
      <vt:variant>
        <vt:i4>65</vt:i4>
      </vt:variant>
    </vt:vector>
  </HeadingPairs>
  <TitlesOfParts>
    <vt:vector size="82" baseType="lpstr">
      <vt:lpstr>Aptos</vt:lpstr>
      <vt:lpstr>Arial</vt:lpstr>
      <vt:lpstr>Arial Narrow</vt:lpstr>
      <vt:lpstr>Calibri</vt:lpstr>
      <vt:lpstr>Calibri Bold</vt:lpstr>
      <vt:lpstr>Century Gothic</vt:lpstr>
      <vt:lpstr>Courier New</vt:lpstr>
      <vt:lpstr>Graphik</vt:lpstr>
      <vt:lpstr>Graphik Compact Medium</vt:lpstr>
      <vt:lpstr>Graphik Medium</vt:lpstr>
      <vt:lpstr>Inter</vt:lpstr>
      <vt:lpstr>Segoe UI</vt:lpstr>
      <vt:lpstr>Times New Roman</vt:lpstr>
      <vt:lpstr>Wingdings</vt:lpstr>
      <vt:lpstr>ITP Aero - Presentation cover</vt:lpstr>
      <vt:lpstr>ITP Aero - Slides</vt:lpstr>
      <vt:lpstr>Diapositiva de think-cell</vt:lpstr>
      <vt:lpstr>PROGRESO DIGITALIZACIÓN RSW</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THANK YOU</vt:lpstr>
      <vt:lpstr>THANK YOU</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 TEMPLATE ITP AERO</dc:title>
  <dc:creator>Antón Guerrero</dc:creator>
  <cp:lastModifiedBy>Gomez Garcia, Aitor (External)</cp:lastModifiedBy>
  <cp:revision>14</cp:revision>
  <dcterms:created xsi:type="dcterms:W3CDTF">2024-10-09T14:27:16Z</dcterms:created>
  <dcterms:modified xsi:type="dcterms:W3CDTF">2025-11-24T12: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2E04C3831FEC41AD8EF201BE958832</vt:lpwstr>
  </property>
  <property fmtid="{D5CDD505-2E9C-101B-9397-08002B2CF9AE}" pid="3" name="MediaServiceImageTags">
    <vt:lpwstr/>
  </property>
  <property fmtid="{D5CDD505-2E9C-101B-9397-08002B2CF9AE}" pid="4" name="MSIP_Label_694f4f7d-5079-4b53-8329-569c1c829dd7_Enabled">
    <vt:lpwstr>true</vt:lpwstr>
  </property>
  <property fmtid="{D5CDD505-2E9C-101B-9397-08002B2CF9AE}" pid="5" name="MSIP_Label_694f4f7d-5079-4b53-8329-569c1c829dd7_SetDate">
    <vt:lpwstr>2025-08-22T12:04:45Z</vt:lpwstr>
  </property>
  <property fmtid="{D5CDD505-2E9C-101B-9397-08002B2CF9AE}" pid="6" name="MSIP_Label_694f4f7d-5079-4b53-8329-569c1c829dd7_Method">
    <vt:lpwstr>Privileged</vt:lpwstr>
  </property>
  <property fmtid="{D5CDD505-2E9C-101B-9397-08002B2CF9AE}" pid="7" name="MSIP_Label_694f4f7d-5079-4b53-8329-569c1c829dd7_Name">
    <vt:lpwstr>Confidential_General</vt:lpwstr>
  </property>
  <property fmtid="{D5CDD505-2E9C-101B-9397-08002B2CF9AE}" pid="8" name="MSIP_Label_694f4f7d-5079-4b53-8329-569c1c829dd7_SiteId">
    <vt:lpwstr>704daa65-7389-4c44-868f-d8e002897791</vt:lpwstr>
  </property>
  <property fmtid="{D5CDD505-2E9C-101B-9397-08002B2CF9AE}" pid="9" name="MSIP_Label_694f4f7d-5079-4b53-8329-569c1c829dd7_ActionId">
    <vt:lpwstr>f029d01a-8f84-4cb8-9db1-770a9039564f</vt:lpwstr>
  </property>
  <property fmtid="{D5CDD505-2E9C-101B-9397-08002B2CF9AE}" pid="10" name="MSIP_Label_694f4f7d-5079-4b53-8329-569c1c829dd7_ContentBits">
    <vt:lpwstr>0</vt:lpwstr>
  </property>
  <property fmtid="{D5CDD505-2E9C-101B-9397-08002B2CF9AE}" pid="11" name="MSIP_Label_694f4f7d-5079-4b53-8329-569c1c829dd7_Tag">
    <vt:lpwstr>10, 0, 1, 2</vt:lpwstr>
  </property>
</Properties>
</file>